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charts/chart6.xml" ContentType="application/vnd.openxmlformats-officedocument.drawingml.chart+xml"/>
  <Override PartName="/ppt/tags/tag35.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4"/>
  </p:sldMasterIdLst>
  <p:notesMasterIdLst>
    <p:notesMasterId r:id="rId13"/>
  </p:notesMasterIdLst>
  <p:sldIdLst>
    <p:sldId id="2147475135" r:id="rId5"/>
    <p:sldId id="2147475163" r:id="rId6"/>
    <p:sldId id="2147475116" r:id="rId7"/>
    <p:sldId id="2147475137" r:id="rId8"/>
    <p:sldId id="2147475138" r:id="rId9"/>
    <p:sldId id="2147475139" r:id="rId10"/>
    <p:sldId id="2147475140" r:id="rId11"/>
    <p:sldId id="2147475168" r:id="rId1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7"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26EFF1-A239-452E-8245-DB8E6373D8EF}" v="3" dt="2024-11-01T08:43:25.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60" y="300"/>
      </p:cViewPr>
      <p:guideLst>
        <p:guide orient="horz" pos="917"/>
        <p:guide pos="2880"/>
        <p:guide orient="horz" pos="17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riman EL HADIDI" userId="4b24840c-84b3-44ac-9131-ca3568cb403b" providerId="ADAL" clId="{AC26EFF1-A239-452E-8245-DB8E6373D8EF}"/>
    <pc:docChg chg="undo custSel modSld addMainMaster delMainMaster modMainMaster">
      <pc:chgData name="Neriman EL HADIDI" userId="4b24840c-84b3-44ac-9131-ca3568cb403b" providerId="ADAL" clId="{AC26EFF1-A239-452E-8245-DB8E6373D8EF}" dt="2024-11-01T08:43:25.104" v="4"/>
      <pc:docMkLst>
        <pc:docMk/>
      </pc:docMkLst>
      <pc:sldChg chg="modSp">
        <pc:chgData name="Neriman EL HADIDI" userId="4b24840c-84b3-44ac-9131-ca3568cb403b" providerId="ADAL" clId="{AC26EFF1-A239-452E-8245-DB8E6373D8EF}" dt="2024-11-01T08:43:25.104" v="4"/>
        <pc:sldMkLst>
          <pc:docMk/>
          <pc:sldMk cId="2010026569" sldId="2147475116"/>
        </pc:sldMkLst>
        <pc:graphicFrameChg chg="mod">
          <ac:chgData name="Neriman EL HADIDI" userId="4b24840c-84b3-44ac-9131-ca3568cb403b" providerId="ADAL" clId="{AC26EFF1-A239-452E-8245-DB8E6373D8EF}" dt="2024-11-01T08:43:25.104" v="4"/>
          <ac:graphicFrameMkLst>
            <pc:docMk/>
            <pc:sldMk cId="2010026569" sldId="2147475116"/>
            <ac:graphicFrameMk id="13" creationId="{0FD720B3-3C7D-426F-B391-AFCECEB9BE0C}"/>
          </ac:graphicFrameMkLst>
        </pc:graphicFrameChg>
      </pc:sldChg>
      <pc:sldMasterChg chg="del">
        <pc:chgData name="Neriman EL HADIDI" userId="4b24840c-84b3-44ac-9131-ca3568cb403b" providerId="ADAL" clId="{AC26EFF1-A239-452E-8245-DB8E6373D8EF}" dt="2024-11-01T08:42:51.844" v="0" actId="2696"/>
        <pc:sldMasterMkLst>
          <pc:docMk/>
          <pc:sldMasterMk cId="823099819" sldId="2147483792"/>
        </pc:sldMasterMkLst>
      </pc:sldMasterChg>
      <pc:sldMasterChg chg="modSp new del mod addSldLayout delSldLayout">
        <pc:chgData name="Neriman EL HADIDI" userId="4b24840c-84b3-44ac-9131-ca3568cb403b" providerId="ADAL" clId="{AC26EFF1-A239-452E-8245-DB8E6373D8EF}" dt="2024-11-01T08:43:00.893" v="3" actId="6938"/>
        <pc:sldMasterMkLst>
          <pc:docMk/>
          <pc:sldMasterMk cId="1973025651" sldId="2147483905"/>
        </pc:sldMasterMkLst>
        <pc:sldLayoutChg chg="new del replId">
          <pc:chgData name="Neriman EL HADIDI" userId="4b24840c-84b3-44ac-9131-ca3568cb403b" providerId="ADAL" clId="{AC26EFF1-A239-452E-8245-DB8E6373D8EF}" dt="2024-11-01T08:43:00.893" v="3" actId="6938"/>
          <pc:sldLayoutMkLst>
            <pc:docMk/>
            <pc:sldMasterMk cId="1973025651" sldId="2147483905"/>
            <pc:sldLayoutMk cId="2938457443" sldId="2147483906"/>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623562" sldId="2147483907"/>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087223447" sldId="2147483908"/>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1432085581" sldId="2147483909"/>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725795051" sldId="2147483910"/>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94219938" sldId="2147483911"/>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650394137" sldId="2147483912"/>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141054726" sldId="2147483913"/>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2732231769" sldId="2147483914"/>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3283424540" sldId="2147483915"/>
          </pc:sldLayoutMkLst>
        </pc:sldLayoutChg>
        <pc:sldLayoutChg chg="new del replId">
          <pc:chgData name="Neriman EL HADIDI" userId="4b24840c-84b3-44ac-9131-ca3568cb403b" providerId="ADAL" clId="{AC26EFF1-A239-452E-8245-DB8E6373D8EF}" dt="2024-11-01T08:43:00.893" v="3" actId="6938"/>
          <pc:sldLayoutMkLst>
            <pc:docMk/>
            <pc:sldMasterMk cId="1973025651" sldId="2147483905"/>
            <pc:sldLayoutMk cId="4049326179" sldId="2147483916"/>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082217862757604E-2"/>
          <c:y val="4.1660304546965121E-2"/>
          <c:w val="0.90748834189922756"/>
          <c:h val="0.75888837206815618"/>
        </c:manualLayout>
      </c:layout>
      <c:barChart>
        <c:barDir val="col"/>
        <c:grouping val="clustered"/>
        <c:varyColors val="0"/>
        <c:ser>
          <c:idx val="0"/>
          <c:order val="0"/>
          <c:tx>
            <c:strRef>
              <c:f>Sheet1!$B$1</c:f>
              <c:strCache>
                <c:ptCount val="1"/>
                <c:pt idx="0">
                  <c:v>Value Share</c:v>
                </c:pt>
              </c:strCache>
            </c:strRef>
          </c:tx>
          <c:spPr>
            <a:solidFill>
              <a:srgbClr val="AEABAB"/>
            </a:solidFill>
            <a:ln>
              <a:solidFill>
                <a:schemeClr val="bg1"/>
              </a:solidFill>
            </a:ln>
            <a:effectLst/>
          </c:spPr>
          <c:invertIfNegative val="0"/>
          <c:dPt>
            <c:idx val="0"/>
            <c:invertIfNegative val="0"/>
            <c:bubble3D val="0"/>
            <c:extLst>
              <c:ext xmlns:c16="http://schemas.microsoft.com/office/drawing/2014/chart" uri="{C3380CC4-5D6E-409C-BE32-E72D297353CC}">
                <c16:uniqueId val="{00000001-C966-42D5-8603-A18C459B1D90}"/>
              </c:ext>
            </c:extLst>
          </c:dPt>
          <c:dPt>
            <c:idx val="1"/>
            <c:invertIfNegative val="0"/>
            <c:bubble3D val="0"/>
            <c:extLst>
              <c:ext xmlns:c16="http://schemas.microsoft.com/office/drawing/2014/chart" uri="{C3380CC4-5D6E-409C-BE32-E72D297353CC}">
                <c16:uniqueId val="{00000003-C966-42D5-8603-A18C459B1D90}"/>
              </c:ext>
            </c:extLst>
          </c:dPt>
          <c:dPt>
            <c:idx val="3"/>
            <c:invertIfNegative val="0"/>
            <c:bubble3D val="0"/>
            <c:extLst>
              <c:ext xmlns:c16="http://schemas.microsoft.com/office/drawing/2014/chart" uri="{C3380CC4-5D6E-409C-BE32-E72D297353CC}">
                <c16:uniqueId val="{00000005-C966-42D5-8603-A18C459B1D90}"/>
              </c:ext>
            </c:extLst>
          </c:dPt>
          <c:dPt>
            <c:idx val="6"/>
            <c:invertIfNegative val="0"/>
            <c:bubble3D val="0"/>
            <c:extLst>
              <c:ext xmlns:c16="http://schemas.microsoft.com/office/drawing/2014/chart" uri="{C3380CC4-5D6E-409C-BE32-E72D297353CC}">
                <c16:uniqueId val="{00000007-C966-42D5-8603-A18C459B1D90}"/>
              </c:ext>
            </c:extLst>
          </c:dPt>
          <c:dPt>
            <c:idx val="7"/>
            <c:invertIfNegative val="0"/>
            <c:bubble3D val="0"/>
            <c:extLst>
              <c:ext xmlns:c16="http://schemas.microsoft.com/office/drawing/2014/chart" uri="{C3380CC4-5D6E-409C-BE32-E72D297353CC}">
                <c16:uniqueId val="{00000005-A933-4657-97EC-F7F69F4200BD}"/>
              </c:ext>
            </c:extLst>
          </c:dPt>
          <c:dPt>
            <c:idx val="10"/>
            <c:invertIfNegative val="0"/>
            <c:bubble3D val="0"/>
            <c:extLst>
              <c:ext xmlns:c16="http://schemas.microsoft.com/office/drawing/2014/chart" uri="{C3380CC4-5D6E-409C-BE32-E72D297353CC}">
                <c16:uniqueId val="{0000000B-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B$2:$B$7</c:f>
              <c:numCache>
                <c:formatCode>General</c:formatCode>
                <c:ptCount val="6"/>
                <c:pt idx="0">
                  <c:v>0.1197304117585517</c:v>
                </c:pt>
                <c:pt idx="1">
                  <c:v>0.1160412797961729</c:v>
                </c:pt>
                <c:pt idx="2">
                  <c:v>7.3605745704943673E-2</c:v>
                </c:pt>
                <c:pt idx="3">
                  <c:v>5.7713539547545309E-2</c:v>
                </c:pt>
                <c:pt idx="4">
                  <c:v>3.3852639338882849E-2</c:v>
                </c:pt>
                <c:pt idx="5">
                  <c:v>0.59905638385390358</c:v>
                </c:pt>
              </c:numCache>
            </c:numRef>
          </c:val>
          <c:extLst>
            <c:ext xmlns:c16="http://schemas.microsoft.com/office/drawing/2014/chart" uri="{C3380CC4-5D6E-409C-BE32-E72D297353CC}">
              <c16:uniqueId val="{0000000C-C966-42D5-8603-A18C459B1D90}"/>
            </c:ext>
          </c:extLst>
        </c:ser>
        <c:ser>
          <c:idx val="1"/>
          <c:order val="1"/>
          <c:tx>
            <c:strRef>
              <c:f>Sheet1!$C$1</c:f>
              <c:strCache>
                <c:ptCount val="1"/>
                <c:pt idx="0">
                  <c:v>SKU Share</c:v>
                </c:pt>
              </c:strCache>
            </c:strRef>
          </c:tx>
          <c:spPr>
            <a:solidFill>
              <a:srgbClr val="E6E5E5">
                <a:lumMod val="50000"/>
              </a:srgb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E-C966-42D5-8603-A18C459B1D90}"/>
              </c:ext>
            </c:extLst>
          </c:dPt>
          <c:dPt>
            <c:idx val="1"/>
            <c:invertIfNegative val="0"/>
            <c:bubble3D val="0"/>
            <c:extLst>
              <c:ext xmlns:c16="http://schemas.microsoft.com/office/drawing/2014/chart" uri="{C3380CC4-5D6E-409C-BE32-E72D297353CC}">
                <c16:uniqueId val="{00000010-C966-42D5-8603-A18C459B1D90}"/>
              </c:ext>
            </c:extLst>
          </c:dPt>
          <c:dPt>
            <c:idx val="3"/>
            <c:invertIfNegative val="0"/>
            <c:bubble3D val="0"/>
            <c:extLst>
              <c:ext xmlns:c16="http://schemas.microsoft.com/office/drawing/2014/chart" uri="{C3380CC4-5D6E-409C-BE32-E72D297353CC}">
                <c16:uniqueId val="{00000012-C966-42D5-8603-A18C459B1D90}"/>
              </c:ext>
            </c:extLst>
          </c:dPt>
          <c:dPt>
            <c:idx val="6"/>
            <c:invertIfNegative val="0"/>
            <c:bubble3D val="0"/>
            <c:extLst>
              <c:ext xmlns:c16="http://schemas.microsoft.com/office/drawing/2014/chart" uri="{C3380CC4-5D6E-409C-BE32-E72D297353CC}">
                <c16:uniqueId val="{00000014-C966-42D5-8603-A18C459B1D90}"/>
              </c:ext>
            </c:extLst>
          </c:dPt>
          <c:dPt>
            <c:idx val="7"/>
            <c:invertIfNegative val="0"/>
            <c:bubble3D val="0"/>
            <c:extLst>
              <c:ext xmlns:c16="http://schemas.microsoft.com/office/drawing/2014/chart" uri="{C3380CC4-5D6E-409C-BE32-E72D297353CC}">
                <c16:uniqueId val="{0000000B-A933-4657-97EC-F7F69F4200BD}"/>
              </c:ext>
            </c:extLst>
          </c:dPt>
          <c:dPt>
            <c:idx val="10"/>
            <c:invertIfNegative val="0"/>
            <c:bubble3D val="0"/>
            <c:extLst>
              <c:ext xmlns:c16="http://schemas.microsoft.com/office/drawing/2014/chart" uri="{C3380CC4-5D6E-409C-BE32-E72D297353CC}">
                <c16:uniqueId val="{00000018-C966-42D5-8603-A18C459B1D90}"/>
              </c:ext>
            </c:extLst>
          </c:dPt>
          <c:dLbls>
            <c:numFmt formatCode="0.0%" sourceLinked="0"/>
            <c:spPr>
              <a:noFill/>
              <a:ln>
                <a:noFill/>
              </a:ln>
              <a:effectLst/>
            </c:spPr>
            <c:txPr>
              <a:bodyPr rot="0" vert="horz"/>
              <a:lstStyle/>
              <a:p>
                <a:pPr>
                  <a:defRPr sz="800"/>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C$2:$C$7</c:f>
              <c:numCache>
                <c:formatCode>General</c:formatCode>
                <c:ptCount val="6"/>
                <c:pt idx="0">
                  <c:v>1.7678927858568581E-2</c:v>
                </c:pt>
                <c:pt idx="1">
                  <c:v>7.1285999429711996E-3</c:v>
                </c:pt>
                <c:pt idx="2">
                  <c:v>4.2771599657827203E-3</c:v>
                </c:pt>
                <c:pt idx="3">
                  <c:v>1.9104647847162821E-2</c:v>
                </c:pt>
                <c:pt idx="4">
                  <c:v>3.706871970345024E-3</c:v>
                </c:pt>
                <c:pt idx="5">
                  <c:v>0.94810379241516962</c:v>
                </c:pt>
              </c:numCache>
            </c:numRef>
          </c:val>
          <c:extLst>
            <c:ext xmlns:c16="http://schemas.microsoft.com/office/drawing/2014/chart" uri="{C3380CC4-5D6E-409C-BE32-E72D297353CC}">
              <c16:uniqueId val="{00000019-C966-42D5-8603-A18C459B1D90}"/>
            </c:ext>
          </c:extLst>
        </c:ser>
        <c:dLbls>
          <c:showLegendKey val="0"/>
          <c:showVal val="1"/>
          <c:showCatName val="0"/>
          <c:showSerName val="0"/>
          <c:showPercent val="0"/>
          <c:showBubbleSize val="0"/>
        </c:dLbls>
        <c:gapWidth val="50"/>
        <c:axId val="1837882976"/>
        <c:axId val="1433501040"/>
      </c:barChart>
      <c:lineChart>
        <c:grouping val="standard"/>
        <c:varyColors val="0"/>
        <c:ser>
          <c:idx val="2"/>
          <c:order val="2"/>
          <c:tx>
            <c:strRef>
              <c:f>Sheet1!$D$1</c:f>
              <c:strCache>
                <c:ptCount val="1"/>
                <c:pt idx="0">
                  <c:v>Index</c:v>
                </c:pt>
              </c:strCache>
            </c:strRef>
          </c:tx>
          <c:spPr>
            <a:ln w="19050" cap="rnd">
              <a:solidFill>
                <a:srgbClr val="7ECAC4"/>
              </a:solidFill>
              <a:prstDash val="sysDot"/>
              <a:round/>
            </a:ln>
            <a:effectLst/>
          </c:spPr>
          <c:marker>
            <c:symbol val="circle"/>
            <c:size val="26"/>
            <c:spPr>
              <a:solidFill>
                <a:srgbClr val="7ECAC4">
                  <a:lumMod val="20000"/>
                  <a:lumOff val="80000"/>
                </a:srgbClr>
              </a:solidFill>
              <a:ln w="25400">
                <a:solidFill>
                  <a:srgbClr val="7ECAC4">
                    <a:lumMod val="20000"/>
                    <a:lumOff val="80000"/>
                  </a:srgbClr>
                </a:solidFill>
              </a:ln>
              <a:effectLst/>
            </c:spPr>
          </c:marker>
          <c:dPt>
            <c:idx val="0"/>
            <c:bubble3D val="0"/>
            <c:extLst>
              <c:ext xmlns:c16="http://schemas.microsoft.com/office/drawing/2014/chart" uri="{C3380CC4-5D6E-409C-BE32-E72D297353CC}">
                <c16:uniqueId val="{0000001A-C966-42D5-8603-A18C459B1D90}"/>
              </c:ext>
            </c:extLst>
          </c:dPt>
          <c:dPt>
            <c:idx val="1"/>
            <c:bubble3D val="0"/>
            <c:extLst>
              <c:ext xmlns:c16="http://schemas.microsoft.com/office/drawing/2014/chart" uri="{C3380CC4-5D6E-409C-BE32-E72D297353CC}">
                <c16:uniqueId val="{0000001B-C966-42D5-8603-A18C459B1D90}"/>
              </c:ext>
            </c:extLst>
          </c:dPt>
          <c:dPt>
            <c:idx val="3"/>
            <c:bubble3D val="0"/>
            <c:extLst>
              <c:ext xmlns:c16="http://schemas.microsoft.com/office/drawing/2014/chart" uri="{C3380CC4-5D6E-409C-BE32-E72D297353CC}">
                <c16:uniqueId val="{0000001C-C966-42D5-8603-A18C459B1D90}"/>
              </c:ext>
            </c:extLst>
          </c:dPt>
          <c:dPt>
            <c:idx val="5"/>
            <c:marker>
              <c:symbol val="circle"/>
              <c:size val="32"/>
            </c:marker>
            <c:bubble3D val="0"/>
            <c:extLst>
              <c:ext xmlns:c16="http://schemas.microsoft.com/office/drawing/2014/chart" uri="{C3380CC4-5D6E-409C-BE32-E72D297353CC}">
                <c16:uniqueId val="{00000013-0101-B541-945A-BCD4E6352D75}"/>
              </c:ext>
            </c:extLst>
          </c:dPt>
          <c:dPt>
            <c:idx val="6"/>
            <c:bubble3D val="0"/>
            <c:extLst>
              <c:ext xmlns:c16="http://schemas.microsoft.com/office/drawing/2014/chart" uri="{C3380CC4-5D6E-409C-BE32-E72D297353CC}">
                <c16:uniqueId val="{0000001D-C966-42D5-8603-A18C459B1D90}"/>
              </c:ext>
            </c:extLst>
          </c:dPt>
          <c:dPt>
            <c:idx val="7"/>
            <c:bubble3D val="0"/>
            <c:extLst>
              <c:ext xmlns:c16="http://schemas.microsoft.com/office/drawing/2014/chart" uri="{C3380CC4-5D6E-409C-BE32-E72D297353CC}">
                <c16:uniqueId val="{00000011-A933-4657-97EC-F7F69F4200BD}"/>
              </c:ext>
            </c:extLst>
          </c:dPt>
          <c:dPt>
            <c:idx val="10"/>
            <c:bubble3D val="0"/>
            <c:extLst>
              <c:ext xmlns:c16="http://schemas.microsoft.com/office/drawing/2014/chart" uri="{C3380CC4-5D6E-409C-BE32-E72D297353CC}">
                <c16:uniqueId val="{0000001F-C966-42D5-8603-A18C459B1D90}"/>
              </c:ext>
            </c:extLst>
          </c:dPt>
          <c:dLbls>
            <c:dLbl>
              <c:idx val="2"/>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966-42D5-8603-A18C459B1D90}"/>
                </c:ext>
              </c:extLst>
            </c:dLbl>
            <c:dLbl>
              <c:idx val="3"/>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966-42D5-8603-A18C459B1D90}"/>
                </c:ext>
              </c:extLst>
            </c:dLbl>
            <c:dLbl>
              <c:idx val="4"/>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6-42D5-8603-A18C459B1D90}"/>
                </c:ext>
              </c:extLst>
            </c:dLbl>
            <c:numFmt formatCode="0" sourceLinked="0"/>
            <c:spPr>
              <a:noFill/>
              <a:ln>
                <a:noFill/>
              </a:ln>
              <a:effectLst/>
            </c:spPr>
            <c:txPr>
              <a:bodyPr rot="0" vert="horz"/>
              <a:lstStyle/>
              <a:p>
                <a:pPr>
                  <a:defRPr sz="800"/>
                </a:pPr>
                <a:endParaRPr lang="en-CH"/>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rolsteiner</c:v>
                </c:pt>
                <c:pt idx="1">
                  <c:v>Eigenmarke</c:v>
                </c:pt>
                <c:pt idx="2">
                  <c:v>Volvic</c:v>
                </c:pt>
                <c:pt idx="3">
                  <c:v>Adelholzener</c:v>
                </c:pt>
                <c:pt idx="4">
                  <c:v>Vittel</c:v>
                </c:pt>
                <c:pt idx="5">
                  <c:v>OTHERS</c:v>
                </c:pt>
              </c:strCache>
            </c:strRef>
          </c:cat>
          <c:val>
            <c:numRef>
              <c:f>Sheet1!$D$2:$D$7</c:f>
              <c:numCache>
                <c:formatCode>General</c:formatCode>
                <c:ptCount val="6"/>
                <c:pt idx="0">
                  <c:v>0.14765611843229851</c:v>
                </c:pt>
                <c:pt idx="1">
                  <c:v>6.1431586720627533E-2</c:v>
                </c:pt>
                <c:pt idx="2">
                  <c:v>5.8109050113127898E-2</c:v>
                </c:pt>
                <c:pt idx="3">
                  <c:v>0.3310254057702372</c:v>
                </c:pt>
                <c:pt idx="4">
                  <c:v>0.10950023521762289</c:v>
                </c:pt>
                <c:pt idx="5">
                  <c:v>1.582662029767119</c:v>
                </c:pt>
              </c:numCache>
            </c:numRef>
          </c:val>
          <c:smooth val="0"/>
          <c:extLst>
            <c:ext xmlns:c16="http://schemas.microsoft.com/office/drawing/2014/chart" uri="{C3380CC4-5D6E-409C-BE32-E72D297353CC}">
              <c16:uniqueId val="{00000022-C966-42D5-8603-A18C459B1D90}"/>
            </c:ext>
          </c:extLst>
        </c:ser>
        <c:dLbls>
          <c:showLegendKey val="0"/>
          <c:showVal val="1"/>
          <c:showCatName val="0"/>
          <c:showSerName val="0"/>
          <c:showPercent val="0"/>
          <c:showBubbleSize val="0"/>
        </c:dLbls>
        <c:marker val="1"/>
        <c:smooth val="0"/>
        <c:axId val="1836499472"/>
        <c:axId val="1487101584"/>
      </c:lineChart>
      <c:catAx>
        <c:axId val="1837882976"/>
        <c:scaling>
          <c:orientation val="minMax"/>
        </c:scaling>
        <c:delete val="0"/>
        <c:axPos val="b"/>
        <c:majorGridlines>
          <c:spPr>
            <a:ln w="12700" cap="rnd" cmpd="sng" algn="ctr">
              <a:solidFill>
                <a:schemeClr val="tx2"/>
              </a:solidFill>
              <a:prstDash val="sysDot"/>
              <a:round/>
            </a:ln>
            <a:effectLst/>
          </c:spPr>
        </c:majorGridlines>
        <c:numFmt formatCode="General" sourceLinked="1"/>
        <c:majorTickMark val="none"/>
        <c:minorTickMark val="none"/>
        <c:tickLblPos val="nextTo"/>
        <c:spPr>
          <a:noFill/>
          <a:ln w="9525" cap="flat" cmpd="sng" algn="ctr">
            <a:solidFill>
              <a:schemeClr val="bg2"/>
            </a:solidFill>
            <a:round/>
          </a:ln>
          <a:effectLst/>
        </c:spPr>
        <c:txPr>
          <a:bodyPr rot="0" vert="horz"/>
          <a:lstStyle/>
          <a:p>
            <a:pPr>
              <a:defRPr sz="800"/>
            </a:pPr>
            <a:endParaRPr lang="en-CH"/>
          </a:p>
        </c:txPr>
        <c:crossAx val="1433501040"/>
        <c:crosses val="autoZero"/>
        <c:auto val="1"/>
        <c:lblAlgn val="ctr"/>
        <c:lblOffset val="100"/>
        <c:noMultiLvlLbl val="0"/>
      </c:catAx>
      <c:valAx>
        <c:axId val="1433501040"/>
        <c:scaling>
          <c:orientation val="minMax"/>
        </c:scaling>
        <c:delete val="0"/>
        <c:axPos val="l"/>
        <c:numFmt formatCode="0%" sourceLinked="0"/>
        <c:majorTickMark val="none"/>
        <c:minorTickMark val="none"/>
        <c:tickLblPos val="nextTo"/>
        <c:spPr>
          <a:noFill/>
          <a:ln>
            <a:noFill/>
          </a:ln>
          <a:effectLst/>
        </c:spPr>
        <c:txPr>
          <a:bodyPr rot="-60000000" vert="horz"/>
          <a:lstStyle/>
          <a:p>
            <a:pPr>
              <a:defRPr sz="800"/>
            </a:pPr>
            <a:endParaRPr lang="en-CH"/>
          </a:p>
        </c:txPr>
        <c:crossAx val="1837882976"/>
        <c:crosses val="autoZero"/>
        <c:crossBetween val="between"/>
      </c:valAx>
      <c:valAx>
        <c:axId val="1487101584"/>
        <c:scaling>
          <c:orientation val="minMax"/>
        </c:scaling>
        <c:delete val="0"/>
        <c:axPos val="r"/>
        <c:numFmt formatCode="0%" sourceLinked="0"/>
        <c:majorTickMark val="out"/>
        <c:minorTickMark val="none"/>
        <c:tickLblPos val="nextTo"/>
        <c:spPr>
          <a:noFill/>
          <a:ln>
            <a:noFill/>
          </a:ln>
          <a:effectLst/>
        </c:spPr>
        <c:txPr>
          <a:bodyPr rot="-60000000" vert="horz"/>
          <a:lstStyle/>
          <a:p>
            <a:pPr>
              <a:defRPr sz="800"/>
            </a:pPr>
            <a:endParaRPr lang="en-CH"/>
          </a:p>
        </c:txPr>
        <c:crossAx val="1836499472"/>
        <c:crosses val="max"/>
        <c:crossBetween val="between"/>
      </c:valAx>
      <c:catAx>
        <c:axId val="1836499472"/>
        <c:scaling>
          <c:orientation val="minMax"/>
        </c:scaling>
        <c:delete val="1"/>
        <c:axPos val="b"/>
        <c:numFmt formatCode="General" sourceLinked="1"/>
        <c:majorTickMark val="out"/>
        <c:minorTickMark val="none"/>
        <c:tickLblPos val="nextTo"/>
        <c:crossAx val="148710158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sz="800"/>
          </a:pPr>
          <a:endParaRPr lang="en-CH"/>
        </a:p>
      </c:txPr>
    </c:legend>
    <c:plotVisOnly val="1"/>
    <c:dispBlanksAs val="gap"/>
    <c:showDLblsOverMax val="0"/>
    <c:extLst/>
  </c:chart>
  <c:spPr>
    <a:noFill/>
    <a:ln>
      <a:noFill/>
    </a:ln>
    <a:effectLst/>
  </c:spPr>
  <c:txPr>
    <a:bodyPr/>
    <a:lstStyle/>
    <a:p>
      <a:pPr>
        <a:defRPr>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2.1513611284744626E-2"/>
          <c:w val="0.92363706105292032"/>
          <c:h val="0.89536155524981165"/>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B$2:$B$211</c:f>
              <c:numCache>
                <c:formatCode>General</c:formatCode>
                <c:ptCount val="21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pt idx="60">
                  <c:v>0.59</c:v>
                </c:pt>
                <c:pt idx="61">
                  <c:v>0.19</c:v>
                </c:pt>
                <c:pt idx="62">
                  <c:v>0.31</c:v>
                </c:pt>
                <c:pt idx="63">
                  <c:v>0.46</c:v>
                </c:pt>
                <c:pt idx="64">
                  <c:v>0.44</c:v>
                </c:pt>
                <c:pt idx="65">
                  <c:v>0.8</c:v>
                </c:pt>
                <c:pt idx="66">
                  <c:v>0.3</c:v>
                </c:pt>
                <c:pt idx="67">
                  <c:v>0.57999999999999996</c:v>
                </c:pt>
                <c:pt idx="68">
                  <c:v>0.28999999999999998</c:v>
                </c:pt>
                <c:pt idx="69">
                  <c:v>0.34</c:v>
                </c:pt>
                <c:pt idx="70">
                  <c:v>0.55000000000000004</c:v>
                </c:pt>
                <c:pt idx="71">
                  <c:v>0.02</c:v>
                </c:pt>
                <c:pt idx="72">
                  <c:v>0.32</c:v>
                </c:pt>
                <c:pt idx="73">
                  <c:v>0.28999999999999998</c:v>
                </c:pt>
                <c:pt idx="74">
                  <c:v>0.56999999999999995</c:v>
                </c:pt>
                <c:pt idx="75">
                  <c:v>0.59</c:v>
                </c:pt>
                <c:pt idx="76">
                  <c:v>0.49</c:v>
                </c:pt>
                <c:pt idx="77">
                  <c:v>0.57999999999999996</c:v>
                </c:pt>
                <c:pt idx="78">
                  <c:v>0.61</c:v>
                </c:pt>
                <c:pt idx="79">
                  <c:v>0.54</c:v>
                </c:pt>
                <c:pt idx="80">
                  <c:v>0.43</c:v>
                </c:pt>
                <c:pt idx="81">
                  <c:v>0.46</c:v>
                </c:pt>
                <c:pt idx="82">
                  <c:v>0.54</c:v>
                </c:pt>
                <c:pt idx="83">
                  <c:v>0.1</c:v>
                </c:pt>
                <c:pt idx="84">
                  <c:v>0.36</c:v>
                </c:pt>
                <c:pt idx="85">
                  <c:v>0.81</c:v>
                </c:pt>
                <c:pt idx="86">
                  <c:v>0.17</c:v>
                </c:pt>
                <c:pt idx="87">
                  <c:v>0.52</c:v>
                </c:pt>
                <c:pt idx="88">
                  <c:v>0.42</c:v>
                </c:pt>
                <c:pt idx="89">
                  <c:v>0.28000000000000003</c:v>
                </c:pt>
                <c:pt idx="90">
                  <c:v>0.32</c:v>
                </c:pt>
                <c:pt idx="91">
                  <c:v>0.26</c:v>
                </c:pt>
                <c:pt idx="92">
                  <c:v>0.59</c:v>
                </c:pt>
                <c:pt idx="93">
                  <c:v>0.25</c:v>
                </c:pt>
                <c:pt idx="94">
                  <c:v>0.41</c:v>
                </c:pt>
                <c:pt idx="95">
                  <c:v>0.51</c:v>
                </c:pt>
                <c:pt idx="96">
                  <c:v>0.33</c:v>
                </c:pt>
                <c:pt idx="97">
                  <c:v>0.33</c:v>
                </c:pt>
                <c:pt idx="98">
                  <c:v>0.08</c:v>
                </c:pt>
                <c:pt idx="99">
                  <c:v>0.28000000000000003</c:v>
                </c:pt>
                <c:pt idx="100">
                  <c:v>0.35</c:v>
                </c:pt>
                <c:pt idx="101">
                  <c:v>0.13</c:v>
                </c:pt>
                <c:pt idx="102">
                  <c:v>0.62</c:v>
                </c:pt>
                <c:pt idx="103">
                  <c:v>0.06</c:v>
                </c:pt>
                <c:pt idx="104">
                  <c:v>0.12</c:v>
                </c:pt>
                <c:pt idx="105">
                  <c:v>0.4</c:v>
                </c:pt>
                <c:pt idx="106">
                  <c:v>0.82</c:v>
                </c:pt>
                <c:pt idx="107">
                  <c:v>0.76</c:v>
                </c:pt>
                <c:pt idx="108">
                  <c:v>0.33</c:v>
                </c:pt>
                <c:pt idx="109">
                  <c:v>0.28999999999999998</c:v>
                </c:pt>
                <c:pt idx="110">
                  <c:v>0.28000000000000003</c:v>
                </c:pt>
                <c:pt idx="111">
                  <c:v>0.35</c:v>
                </c:pt>
                <c:pt idx="112">
                  <c:v>0.36</c:v>
                </c:pt>
                <c:pt idx="113">
                  <c:v>0.3</c:v>
                </c:pt>
                <c:pt idx="114">
                  <c:v>0.34</c:v>
                </c:pt>
                <c:pt idx="115">
                  <c:v>7.0000000000000007E-2</c:v>
                </c:pt>
                <c:pt idx="116">
                  <c:v>0.51</c:v>
                </c:pt>
                <c:pt idx="117">
                  <c:v>0.19</c:v>
                </c:pt>
                <c:pt idx="118">
                  <c:v>0.28999999999999998</c:v>
                </c:pt>
                <c:pt idx="119">
                  <c:v>0.25</c:v>
                </c:pt>
                <c:pt idx="120">
                  <c:v>0.56000000000000005</c:v>
                </c:pt>
                <c:pt idx="121">
                  <c:v>0.4</c:v>
                </c:pt>
                <c:pt idx="122">
                  <c:v>0.21</c:v>
                </c:pt>
                <c:pt idx="123">
                  <c:v>0.37</c:v>
                </c:pt>
                <c:pt idx="124">
                  <c:v>0.28000000000000003</c:v>
                </c:pt>
                <c:pt idx="125">
                  <c:v>0.56999999999999995</c:v>
                </c:pt>
                <c:pt idx="126">
                  <c:v>0.33</c:v>
                </c:pt>
                <c:pt idx="127">
                  <c:v>0.34</c:v>
                </c:pt>
                <c:pt idx="128">
                  <c:v>0.5</c:v>
                </c:pt>
                <c:pt idx="129">
                  <c:v>0.11</c:v>
                </c:pt>
                <c:pt idx="130">
                  <c:v>0.06</c:v>
                </c:pt>
                <c:pt idx="131">
                  <c:v>7.0000000000000007E-2</c:v>
                </c:pt>
                <c:pt idx="132">
                  <c:v>0.54</c:v>
                </c:pt>
                <c:pt idx="133">
                  <c:v>0.11</c:v>
                </c:pt>
                <c:pt idx="134">
                  <c:v>0.15</c:v>
                </c:pt>
                <c:pt idx="135">
                  <c:v>0.24</c:v>
                </c:pt>
                <c:pt idx="136">
                  <c:v>0.12</c:v>
                </c:pt>
                <c:pt idx="137">
                  <c:v>0.69</c:v>
                </c:pt>
                <c:pt idx="138">
                  <c:v>0.13</c:v>
                </c:pt>
                <c:pt idx="139">
                  <c:v>0.06</c:v>
                </c:pt>
                <c:pt idx="140">
                  <c:v>0.13</c:v>
                </c:pt>
                <c:pt idx="141">
                  <c:v>0.49</c:v>
                </c:pt>
                <c:pt idx="142">
                  <c:v>0.06</c:v>
                </c:pt>
                <c:pt idx="143">
                  <c:v>0.28000000000000003</c:v>
                </c:pt>
                <c:pt idx="144">
                  <c:v>0.5</c:v>
                </c:pt>
                <c:pt idx="145">
                  <c:v>0.38</c:v>
                </c:pt>
                <c:pt idx="146">
                  <c:v>0.05</c:v>
                </c:pt>
                <c:pt idx="147">
                  <c:v>0.12</c:v>
                </c:pt>
                <c:pt idx="148">
                  <c:v>0.28000000000000003</c:v>
                </c:pt>
                <c:pt idx="149">
                  <c:v>0.02</c:v>
                </c:pt>
                <c:pt idx="150">
                  <c:v>0.06</c:v>
                </c:pt>
                <c:pt idx="151">
                  <c:v>0.16</c:v>
                </c:pt>
                <c:pt idx="152">
                  <c:v>0.35</c:v>
                </c:pt>
                <c:pt idx="153">
                  <c:v>0.09</c:v>
                </c:pt>
                <c:pt idx="154">
                  <c:v>0.42</c:v>
                </c:pt>
                <c:pt idx="155">
                  <c:v>0.17</c:v>
                </c:pt>
                <c:pt idx="156">
                  <c:v>0.1</c:v>
                </c:pt>
                <c:pt idx="157">
                  <c:v>0.41</c:v>
                </c:pt>
                <c:pt idx="158">
                  <c:v>0.32</c:v>
                </c:pt>
                <c:pt idx="159">
                  <c:v>0.53</c:v>
                </c:pt>
                <c:pt idx="160">
                  <c:v>7.0000000000000007E-2</c:v>
                </c:pt>
                <c:pt idx="161">
                  <c:v>0.2</c:v>
                </c:pt>
                <c:pt idx="162">
                  <c:v>0.33</c:v>
                </c:pt>
                <c:pt idx="163">
                  <c:v>0.28999999999999998</c:v>
                </c:pt>
                <c:pt idx="164">
                  <c:v>0.2</c:v>
                </c:pt>
                <c:pt idx="165">
                  <c:v>0.06</c:v>
                </c:pt>
                <c:pt idx="166">
                  <c:v>0.08</c:v>
                </c:pt>
                <c:pt idx="167">
                  <c:v>0.2</c:v>
                </c:pt>
                <c:pt idx="168">
                  <c:v>0.15</c:v>
                </c:pt>
                <c:pt idx="169">
                  <c:v>0.3</c:v>
                </c:pt>
                <c:pt idx="170">
                  <c:v>0.17</c:v>
                </c:pt>
                <c:pt idx="171">
                  <c:v>0.67</c:v>
                </c:pt>
                <c:pt idx="172">
                  <c:v>0.11</c:v>
                </c:pt>
                <c:pt idx="173">
                  <c:v>0.25</c:v>
                </c:pt>
                <c:pt idx="174">
                  <c:v>0.47</c:v>
                </c:pt>
                <c:pt idx="175">
                  <c:v>0.06</c:v>
                </c:pt>
                <c:pt idx="176">
                  <c:v>0.1</c:v>
                </c:pt>
                <c:pt idx="177">
                  <c:v>0.31</c:v>
                </c:pt>
                <c:pt idx="178">
                  <c:v>0.15</c:v>
                </c:pt>
                <c:pt idx="179">
                  <c:v>0.73</c:v>
                </c:pt>
                <c:pt idx="180">
                  <c:v>0.69</c:v>
                </c:pt>
                <c:pt idx="181">
                  <c:v>0.55000000000000004</c:v>
                </c:pt>
                <c:pt idx="182">
                  <c:v>0.01</c:v>
                </c:pt>
                <c:pt idx="183">
                  <c:v>0.12</c:v>
                </c:pt>
                <c:pt idx="184">
                  <c:v>0.05</c:v>
                </c:pt>
                <c:pt idx="185">
                  <c:v>0.2</c:v>
                </c:pt>
                <c:pt idx="186">
                  <c:v>0.23</c:v>
                </c:pt>
                <c:pt idx="187">
                  <c:v>0.01</c:v>
                </c:pt>
                <c:pt idx="188">
                  <c:v>0.48</c:v>
                </c:pt>
                <c:pt idx="189">
                  <c:v>0.16</c:v>
                </c:pt>
                <c:pt idx="190">
                  <c:v>0.01</c:v>
                </c:pt>
                <c:pt idx="191">
                  <c:v>0.01</c:v>
                </c:pt>
                <c:pt idx="192">
                  <c:v>0.06</c:v>
                </c:pt>
                <c:pt idx="193">
                  <c:v>0.02</c:v>
                </c:pt>
                <c:pt idx="194">
                  <c:v>0.14000000000000001</c:v>
                </c:pt>
                <c:pt idx="195">
                  <c:v>0.13</c:v>
                </c:pt>
                <c:pt idx="196">
                  <c:v>0.01</c:v>
                </c:pt>
                <c:pt idx="197">
                  <c:v>0.03</c:v>
                </c:pt>
                <c:pt idx="198">
                  <c:v>0.23</c:v>
                </c:pt>
                <c:pt idx="199">
                  <c:v>0.05</c:v>
                </c:pt>
                <c:pt idx="200">
                  <c:v>0.11</c:v>
                </c:pt>
                <c:pt idx="201">
                  <c:v>0.1</c:v>
                </c:pt>
                <c:pt idx="202">
                  <c:v>0.28999999999999998</c:v>
                </c:pt>
                <c:pt idx="203">
                  <c:v>0.15</c:v>
                </c:pt>
                <c:pt idx="204">
                  <c:v>0.06</c:v>
                </c:pt>
                <c:pt idx="205">
                  <c:v>0.11</c:v>
                </c:pt>
                <c:pt idx="206">
                  <c:v>0.08</c:v>
                </c:pt>
                <c:pt idx="207">
                  <c:v>0.26</c:v>
                </c:pt>
                <c:pt idx="208">
                  <c:v>7.0000000000000007E-2</c:v>
                </c:pt>
                <c:pt idx="209">
                  <c:v>0.01</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1"/>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211</c:f>
              <c:strCache>
                <c:ptCount val="21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pt idx="60">
                  <c:v>Milk Life</c:v>
                </c:pt>
                <c:pt idx="61">
                  <c:v>Milk Life</c:v>
                </c:pt>
                <c:pt idx="62">
                  <c:v>Milkuat</c:v>
                </c:pt>
                <c:pt idx="63">
                  <c:v>Other</c:v>
                </c:pt>
                <c:pt idx="64">
                  <c:v>Dancow</c:v>
                </c:pt>
                <c:pt idx="65">
                  <c:v>Milo</c:v>
                </c:pt>
                <c:pt idx="66">
                  <c:v>Morinaga</c:v>
                </c:pt>
                <c:pt idx="67">
                  <c:v>Frisian Flag</c:v>
                </c:pt>
                <c:pt idx="68">
                  <c:v>Cimory</c:v>
                </c:pt>
                <c:pt idx="69">
                  <c:v>Morinaga</c:v>
                </c:pt>
                <c:pt idx="70">
                  <c:v>Indomilk</c:v>
                </c:pt>
                <c:pt idx="71">
                  <c:v>Bear Brand</c:v>
                </c:pt>
                <c:pt idx="72">
                  <c:v>Cimory</c:v>
                </c:pt>
                <c:pt idx="73">
                  <c:v>Tango</c:v>
                </c:pt>
                <c:pt idx="74">
                  <c:v>Milo</c:v>
                </c:pt>
                <c:pt idx="75">
                  <c:v>Cimory</c:v>
                </c:pt>
                <c:pt idx="76">
                  <c:v>Indomilk</c:v>
                </c:pt>
                <c:pt idx="77">
                  <c:v>Cimory</c:v>
                </c:pt>
                <c:pt idx="78">
                  <c:v>Cimory</c:v>
                </c:pt>
                <c:pt idx="79">
                  <c:v>Cimory</c:v>
                </c:pt>
                <c:pt idx="80">
                  <c:v>Frisian Flag</c:v>
                </c:pt>
                <c:pt idx="81">
                  <c:v>Other</c:v>
                </c:pt>
                <c:pt idx="82">
                  <c:v>Dancow</c:v>
                </c:pt>
                <c:pt idx="83">
                  <c:v>Other</c:v>
                </c:pt>
                <c:pt idx="84">
                  <c:v>Tango</c:v>
                </c:pt>
                <c:pt idx="85">
                  <c:v>Indomilk</c:v>
                </c:pt>
                <c:pt idx="86">
                  <c:v>Milk Life</c:v>
                </c:pt>
                <c:pt idx="87">
                  <c:v>Tango</c:v>
                </c:pt>
                <c:pt idx="88">
                  <c:v>Dancow</c:v>
                </c:pt>
                <c:pt idx="89">
                  <c:v>Frisian Flag</c:v>
                </c:pt>
                <c:pt idx="90">
                  <c:v>Milkuat</c:v>
                </c:pt>
                <c:pt idx="91">
                  <c:v>Vidoran</c:v>
                </c:pt>
                <c:pt idx="92">
                  <c:v>Nutriboost</c:v>
                </c:pt>
                <c:pt idx="93">
                  <c:v>Frisian Flag</c:v>
                </c:pt>
                <c:pt idx="94">
                  <c:v>Indomilk</c:v>
                </c:pt>
                <c:pt idx="95">
                  <c:v>Indomilk</c:v>
                </c:pt>
                <c:pt idx="96">
                  <c:v>Indomilk</c:v>
                </c:pt>
                <c:pt idx="97">
                  <c:v>Morinaga</c:v>
                </c:pt>
                <c:pt idx="98">
                  <c:v>Real Good</c:v>
                </c:pt>
                <c:pt idx="99">
                  <c:v>Frisian Flag</c:v>
                </c:pt>
                <c:pt idx="100">
                  <c:v>Tango</c:v>
                </c:pt>
                <c:pt idx="101">
                  <c:v>Tango</c:v>
                </c:pt>
                <c:pt idx="102">
                  <c:v>Frisian Flag</c:v>
                </c:pt>
                <c:pt idx="103">
                  <c:v>Real Good</c:v>
                </c:pt>
                <c:pt idx="104">
                  <c:v>Clevo</c:v>
                </c:pt>
                <c:pt idx="105">
                  <c:v>Hi Lo</c:v>
                </c:pt>
                <c:pt idx="106">
                  <c:v>Indomilk</c:v>
                </c:pt>
                <c:pt idx="107">
                  <c:v>Milo</c:v>
                </c:pt>
                <c:pt idx="108">
                  <c:v>Tango</c:v>
                </c:pt>
                <c:pt idx="109">
                  <c:v>Frisian Flag</c:v>
                </c:pt>
                <c:pt idx="110">
                  <c:v>Cimory</c:v>
                </c:pt>
                <c:pt idx="111">
                  <c:v>Indomilk</c:v>
                </c:pt>
                <c:pt idx="112">
                  <c:v>Other</c:v>
                </c:pt>
                <c:pt idx="113">
                  <c:v>Morinaga</c:v>
                </c:pt>
                <c:pt idx="114">
                  <c:v>Indomilk</c:v>
                </c:pt>
                <c:pt idx="115">
                  <c:v>Milkuat</c:v>
                </c:pt>
                <c:pt idx="116">
                  <c:v>Indomilk</c:v>
                </c:pt>
                <c:pt idx="117">
                  <c:v>Other</c:v>
                </c:pt>
                <c:pt idx="118">
                  <c:v>Morinaga</c:v>
                </c:pt>
                <c:pt idx="119">
                  <c:v>Frisian Flag</c:v>
                </c:pt>
                <c:pt idx="120">
                  <c:v>Other</c:v>
                </c:pt>
                <c:pt idx="121">
                  <c:v>Frisian Flag</c:v>
                </c:pt>
                <c:pt idx="122">
                  <c:v>Frisian Flag</c:v>
                </c:pt>
                <c:pt idx="123">
                  <c:v>Greenfields</c:v>
                </c:pt>
                <c:pt idx="124">
                  <c:v>Frisian Flag</c:v>
                </c:pt>
                <c:pt idx="125">
                  <c:v>Other</c:v>
                </c:pt>
                <c:pt idx="126">
                  <c:v>Morinaga</c:v>
                </c:pt>
                <c:pt idx="127">
                  <c:v>Indomilk</c:v>
                </c:pt>
                <c:pt idx="128">
                  <c:v>Dancow</c:v>
                </c:pt>
                <c:pt idx="129">
                  <c:v>Other</c:v>
                </c:pt>
                <c:pt idx="130">
                  <c:v>Other</c:v>
                </c:pt>
                <c:pt idx="131">
                  <c:v>Real Good</c:v>
                </c:pt>
                <c:pt idx="132">
                  <c:v>Other</c:v>
                </c:pt>
                <c:pt idx="133">
                  <c:v>Cimory</c:v>
                </c:pt>
                <c:pt idx="134">
                  <c:v>Indomilk</c:v>
                </c:pt>
                <c:pt idx="135">
                  <c:v>Vidoran</c:v>
                </c:pt>
                <c:pt idx="136">
                  <c:v>Milk Life</c:v>
                </c:pt>
                <c:pt idx="137">
                  <c:v>Ultra</c:v>
                </c:pt>
                <c:pt idx="138">
                  <c:v>Clevo</c:v>
                </c:pt>
                <c:pt idx="139">
                  <c:v>Cimory</c:v>
                </c:pt>
                <c:pt idx="140">
                  <c:v>Clevo</c:v>
                </c:pt>
                <c:pt idx="141">
                  <c:v>Dancow</c:v>
                </c:pt>
                <c:pt idx="142">
                  <c:v>Cimory</c:v>
                </c:pt>
                <c:pt idx="143">
                  <c:v>Frisian Flag</c:v>
                </c:pt>
                <c:pt idx="144">
                  <c:v>Kin</c:v>
                </c:pt>
                <c:pt idx="145">
                  <c:v>Nutriboost</c:v>
                </c:pt>
                <c:pt idx="146">
                  <c:v>Clevo</c:v>
                </c:pt>
                <c:pt idx="147">
                  <c:v>Tango</c:v>
                </c:pt>
                <c:pt idx="148">
                  <c:v>Indomilk</c:v>
                </c:pt>
                <c:pt idx="149">
                  <c:v>Ultra</c:v>
                </c:pt>
                <c:pt idx="150">
                  <c:v>Real Good</c:v>
                </c:pt>
                <c:pt idx="151">
                  <c:v>Other</c:v>
                </c:pt>
                <c:pt idx="152">
                  <c:v>Indomilk</c:v>
                </c:pt>
                <c:pt idx="153">
                  <c:v>Other</c:v>
                </c:pt>
                <c:pt idx="154">
                  <c:v>Frisian Flag</c:v>
                </c:pt>
                <c:pt idx="155">
                  <c:v>Greenfields</c:v>
                </c:pt>
                <c:pt idx="156">
                  <c:v>Other</c:v>
                </c:pt>
                <c:pt idx="157">
                  <c:v>Bear Brand</c:v>
                </c:pt>
                <c:pt idx="158">
                  <c:v>Greenfields</c:v>
                </c:pt>
                <c:pt idx="159">
                  <c:v>Morinaga</c:v>
                </c:pt>
                <c:pt idx="160">
                  <c:v>Real Good</c:v>
                </c:pt>
                <c:pt idx="161">
                  <c:v>Indomilk</c:v>
                </c:pt>
                <c:pt idx="162">
                  <c:v>Indomilk</c:v>
                </c:pt>
                <c:pt idx="163">
                  <c:v>Morinaga</c:v>
                </c:pt>
                <c:pt idx="164">
                  <c:v>Frisian Flag</c:v>
                </c:pt>
                <c:pt idx="165">
                  <c:v>Other</c:v>
                </c:pt>
                <c:pt idx="166">
                  <c:v>Real Good</c:v>
                </c:pt>
                <c:pt idx="167">
                  <c:v>Milkuat</c:v>
                </c:pt>
                <c:pt idx="168">
                  <c:v>Diamond</c:v>
                </c:pt>
                <c:pt idx="169">
                  <c:v>Greenfields</c:v>
                </c:pt>
                <c:pt idx="170">
                  <c:v>Anlene</c:v>
                </c:pt>
                <c:pt idx="171">
                  <c:v>Frisian Flag</c:v>
                </c:pt>
                <c:pt idx="172">
                  <c:v>Other</c:v>
                </c:pt>
                <c:pt idx="173">
                  <c:v>Indomilk</c:v>
                </c:pt>
                <c:pt idx="174">
                  <c:v>Indomilk</c:v>
                </c:pt>
                <c:pt idx="175">
                  <c:v>Real Good</c:v>
                </c:pt>
                <c:pt idx="176">
                  <c:v>Frisian Flag</c:v>
                </c:pt>
                <c:pt idx="177">
                  <c:v>Nutriboost</c:v>
                </c:pt>
                <c:pt idx="178">
                  <c:v>Diamond</c:v>
                </c:pt>
                <c:pt idx="179">
                  <c:v>Indomilk</c:v>
                </c:pt>
                <c:pt idx="180">
                  <c:v>Nutriboost</c:v>
                </c:pt>
                <c:pt idx="181">
                  <c:v>Nutriboost</c:v>
                </c:pt>
                <c:pt idx="182">
                  <c:v>Ultra</c:v>
                </c:pt>
                <c:pt idx="183">
                  <c:v>Real Good</c:v>
                </c:pt>
                <c:pt idx="184">
                  <c:v>Vidoran</c:v>
                </c:pt>
                <c:pt idx="185">
                  <c:v>Milkuat</c:v>
                </c:pt>
                <c:pt idx="186">
                  <c:v>Tango</c:v>
                </c:pt>
                <c:pt idx="187">
                  <c:v>Indomilk</c:v>
                </c:pt>
                <c:pt idx="188">
                  <c:v>Kin</c:v>
                </c:pt>
                <c:pt idx="189">
                  <c:v>Anlene</c:v>
                </c:pt>
                <c:pt idx="190">
                  <c:v>Frisian Flag</c:v>
                </c:pt>
                <c:pt idx="191">
                  <c:v>Indomilk</c:v>
                </c:pt>
                <c:pt idx="192">
                  <c:v>Other</c:v>
                </c:pt>
                <c:pt idx="193">
                  <c:v>Milo</c:v>
                </c:pt>
                <c:pt idx="194">
                  <c:v>Other</c:v>
                </c:pt>
                <c:pt idx="195">
                  <c:v>Diamond</c:v>
                </c:pt>
                <c:pt idx="196">
                  <c:v>Ultra</c:v>
                </c:pt>
                <c:pt idx="197">
                  <c:v>Milkuat</c:v>
                </c:pt>
                <c:pt idx="198">
                  <c:v>Tango</c:v>
                </c:pt>
                <c:pt idx="199">
                  <c:v>Other</c:v>
                </c:pt>
                <c:pt idx="200">
                  <c:v>Other</c:v>
                </c:pt>
                <c:pt idx="201">
                  <c:v>Ovaltine</c:v>
                </c:pt>
                <c:pt idx="202">
                  <c:v>Indomilk</c:v>
                </c:pt>
                <c:pt idx="203">
                  <c:v>Dancow</c:v>
                </c:pt>
                <c:pt idx="204">
                  <c:v>Other</c:v>
                </c:pt>
                <c:pt idx="205">
                  <c:v>Ovaltine</c:v>
                </c:pt>
                <c:pt idx="206">
                  <c:v>Diamond</c:v>
                </c:pt>
                <c:pt idx="207">
                  <c:v>Milkuat</c:v>
                </c:pt>
                <c:pt idx="208">
                  <c:v>Clevo</c:v>
                </c:pt>
                <c:pt idx="209">
                  <c:v>Ultra</c:v>
                </c:pt>
              </c:strCache>
            </c:strRef>
          </c:cat>
          <c:val>
            <c:numRef>
              <c:f>Sheet1!$C$2:$C$211</c:f>
              <c:numCache>
                <c:formatCode>General</c:formatCode>
                <c:ptCount val="21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pt idx="60">
                  <c:v>0.51428164805650467</c:v>
                </c:pt>
                <c:pt idx="61">
                  <c:v>0.5211000592683066</c:v>
                </c:pt>
                <c:pt idx="62">
                  <c:v>0.52784344601500299</c:v>
                </c:pt>
                <c:pt idx="63">
                  <c:v>0.53458472052093475</c:v>
                </c:pt>
                <c:pt idx="64">
                  <c:v>0.54115863520712004</c:v>
                </c:pt>
                <c:pt idx="65">
                  <c:v>0.54766611386403574</c:v>
                </c:pt>
                <c:pt idx="66">
                  <c:v>0.55405080101557791</c:v>
                </c:pt>
                <c:pt idx="67">
                  <c:v>0.56041952079367519</c:v>
                </c:pt>
                <c:pt idx="68">
                  <c:v>0.56674731731894057</c:v>
                </c:pt>
                <c:pt idx="69">
                  <c:v>0.57305821081911712</c:v>
                </c:pt>
                <c:pt idx="70">
                  <c:v>0.57927995383030384</c:v>
                </c:pt>
                <c:pt idx="71">
                  <c:v>0.58549225566869623</c:v>
                </c:pt>
                <c:pt idx="72">
                  <c:v>0.59137171560827706</c:v>
                </c:pt>
                <c:pt idx="73">
                  <c:v>0.59716360588983031</c:v>
                </c:pt>
                <c:pt idx="74">
                  <c:v>0.60284672903763037</c:v>
                </c:pt>
                <c:pt idx="75">
                  <c:v>0.60852985218543043</c:v>
                </c:pt>
                <c:pt idx="76">
                  <c:v>0.61421297533323049</c:v>
                </c:pt>
                <c:pt idx="77">
                  <c:v>0.61989609848103056</c:v>
                </c:pt>
                <c:pt idx="78">
                  <c:v>0.62557922162883062</c:v>
                </c:pt>
                <c:pt idx="79">
                  <c:v>0.63126234477663068</c:v>
                </c:pt>
                <c:pt idx="80">
                  <c:v>0.63680699524133888</c:v>
                </c:pt>
                <c:pt idx="81">
                  <c:v>0.64227514483435821</c:v>
                </c:pt>
                <c:pt idx="82">
                  <c:v>0.64771995677438632</c:v>
                </c:pt>
                <c:pt idx="83">
                  <c:v>0.65315805284751227</c:v>
                </c:pt>
                <c:pt idx="84">
                  <c:v>0.65859517097670894</c:v>
                </c:pt>
                <c:pt idx="85">
                  <c:v>0.66392579244047434</c:v>
                </c:pt>
                <c:pt idx="86">
                  <c:v>0.66913367024034343</c:v>
                </c:pt>
                <c:pt idx="87">
                  <c:v>0.67432486987466445</c:v>
                </c:pt>
                <c:pt idx="88">
                  <c:v>0.67951209436761673</c:v>
                </c:pt>
                <c:pt idx="89">
                  <c:v>0.68454462632357482</c:v>
                </c:pt>
                <c:pt idx="90">
                  <c:v>0.68954497528346526</c:v>
                </c:pt>
                <c:pt idx="91">
                  <c:v>0.69453894588674003</c:v>
                </c:pt>
                <c:pt idx="92">
                  <c:v>0.69946499915631777</c:v>
                </c:pt>
                <c:pt idx="93">
                  <c:v>0.70438638282110688</c:v>
                </c:pt>
                <c:pt idx="94">
                  <c:v>0.70916220983277989</c:v>
                </c:pt>
                <c:pt idx="95">
                  <c:v>0.71387541841209956</c:v>
                </c:pt>
                <c:pt idx="96">
                  <c:v>0.71857512943278645</c:v>
                </c:pt>
                <c:pt idx="97">
                  <c:v>0.72323960612102456</c:v>
                </c:pt>
                <c:pt idx="98">
                  <c:v>0.72787089203760391</c:v>
                </c:pt>
                <c:pt idx="99">
                  <c:v>0.73237860887850881</c:v>
                </c:pt>
                <c:pt idx="100">
                  <c:v>0.73678879268598196</c:v>
                </c:pt>
                <c:pt idx="101">
                  <c:v>0.74119283931944002</c:v>
                </c:pt>
                <c:pt idx="102">
                  <c:v>0.74559047464748018</c:v>
                </c:pt>
                <c:pt idx="103">
                  <c:v>0.74997502445538489</c:v>
                </c:pt>
                <c:pt idx="104">
                  <c:v>0.7543509102542415</c:v>
                </c:pt>
                <c:pt idx="105">
                  <c:v>0.75863535912139146</c:v>
                </c:pt>
                <c:pt idx="106">
                  <c:v>0.76289770148174529</c:v>
                </c:pt>
                <c:pt idx="107">
                  <c:v>0.76712406755474105</c:v>
                </c:pt>
                <c:pt idx="108">
                  <c:v>0.77127275167067599</c:v>
                </c:pt>
                <c:pt idx="109">
                  <c:v>0.77539470509933828</c:v>
                </c:pt>
                <c:pt idx="110">
                  <c:v>0.77943984866076677</c:v>
                </c:pt>
                <c:pt idx="111">
                  <c:v>0.78341773558504402</c:v>
                </c:pt>
                <c:pt idx="112">
                  <c:v>0.78738258682076379</c:v>
                </c:pt>
                <c:pt idx="113">
                  <c:v>0.79134072394382071</c:v>
                </c:pt>
                <c:pt idx="114">
                  <c:v>0.79514834731981332</c:v>
                </c:pt>
                <c:pt idx="115">
                  <c:v>0.79893243722630514</c:v>
                </c:pt>
                <c:pt idx="116">
                  <c:v>0.80257787287187621</c:v>
                </c:pt>
                <c:pt idx="117">
                  <c:v>0.80619713677786264</c:v>
                </c:pt>
                <c:pt idx="118">
                  <c:v>0.80972509069515852</c:v>
                </c:pt>
                <c:pt idx="119">
                  <c:v>0.81321262179385234</c:v>
                </c:pt>
                <c:pt idx="120">
                  <c:v>0.81667049002517655</c:v>
                </c:pt>
                <c:pt idx="121">
                  <c:v>0.82009772484258081</c:v>
                </c:pt>
                <c:pt idx="122">
                  <c:v>0.82345372030214559</c:v>
                </c:pt>
                <c:pt idx="123">
                  <c:v>0.82679496498747329</c:v>
                </c:pt>
                <c:pt idx="124">
                  <c:v>0.83004612526854327</c:v>
                </c:pt>
                <c:pt idx="125">
                  <c:v>0.83326754900220734</c:v>
                </c:pt>
                <c:pt idx="126">
                  <c:v>0.83644633874375829</c:v>
                </c:pt>
                <c:pt idx="127">
                  <c:v>0.83960961918632548</c:v>
                </c:pt>
                <c:pt idx="128">
                  <c:v>0.84273939060057579</c:v>
                </c:pt>
                <c:pt idx="129">
                  <c:v>0.84586085767346675</c:v>
                </c:pt>
                <c:pt idx="130">
                  <c:v>0.84895150272375797</c:v>
                </c:pt>
                <c:pt idx="131">
                  <c:v>0.85202145227276438</c:v>
                </c:pt>
                <c:pt idx="132">
                  <c:v>0.8550903509344997</c:v>
                </c:pt>
                <c:pt idx="133">
                  <c:v>0.85803757485059651</c:v>
                </c:pt>
                <c:pt idx="134">
                  <c:v>0.86097958313630818</c:v>
                </c:pt>
                <c:pt idx="135">
                  <c:v>0.86389363669184838</c:v>
                </c:pt>
                <c:pt idx="136">
                  <c:v>0.86680406985006209</c:v>
                </c:pt>
                <c:pt idx="137">
                  <c:v>0.86964989639788692</c:v>
                </c:pt>
                <c:pt idx="138">
                  <c:v>0.87249145797079453</c:v>
                </c:pt>
                <c:pt idx="139">
                  <c:v>0.87532932028797572</c:v>
                </c:pt>
                <c:pt idx="140">
                  <c:v>0.87815605439631805</c:v>
                </c:pt>
                <c:pt idx="141">
                  <c:v>0.88090284157984178</c:v>
                </c:pt>
                <c:pt idx="142">
                  <c:v>0.88363190783601886</c:v>
                </c:pt>
                <c:pt idx="143">
                  <c:v>0.88633982792838406</c:v>
                </c:pt>
                <c:pt idx="144">
                  <c:v>0.88899302666769786</c:v>
                </c:pt>
                <c:pt idx="145">
                  <c:v>0.89164376751097063</c:v>
                </c:pt>
                <c:pt idx="146">
                  <c:v>0.89428776600967397</c:v>
                </c:pt>
                <c:pt idx="147">
                  <c:v>0.89689100030812097</c:v>
                </c:pt>
                <c:pt idx="148">
                  <c:v>0.89945590394644503</c:v>
                </c:pt>
                <c:pt idx="149">
                  <c:v>0.90201470921076987</c:v>
                </c:pt>
                <c:pt idx="150">
                  <c:v>0.90453307052225895</c:v>
                </c:pt>
                <c:pt idx="151">
                  <c:v>0.90702319337463544</c:v>
                </c:pt>
                <c:pt idx="152">
                  <c:v>0.90950152911820914</c:v>
                </c:pt>
                <c:pt idx="153">
                  <c:v>0.91191572896378814</c:v>
                </c:pt>
                <c:pt idx="154">
                  <c:v>0.91427070268882515</c:v>
                </c:pt>
                <c:pt idx="155">
                  <c:v>0.91650737282165273</c:v>
                </c:pt>
                <c:pt idx="156">
                  <c:v>0.91868554458093155</c:v>
                </c:pt>
                <c:pt idx="157">
                  <c:v>0.92077182981876515</c:v>
                </c:pt>
                <c:pt idx="158">
                  <c:v>0.92285723332192882</c:v>
                </c:pt>
                <c:pt idx="159">
                  <c:v>0.92488170050679097</c:v>
                </c:pt>
                <c:pt idx="160">
                  <c:v>0.92688231506240659</c:v>
                </c:pt>
                <c:pt idx="161">
                  <c:v>0.92877318840740708</c:v>
                </c:pt>
                <c:pt idx="162">
                  <c:v>0.93066117754610833</c:v>
                </c:pt>
                <c:pt idx="163">
                  <c:v>0.93254201781983936</c:v>
                </c:pt>
                <c:pt idx="164">
                  <c:v>0.9344031135692924</c:v>
                </c:pt>
                <c:pt idx="165">
                  <c:v>0.93624761596006645</c:v>
                </c:pt>
                <c:pt idx="166">
                  <c:v>0.93808773221134445</c:v>
                </c:pt>
                <c:pt idx="167">
                  <c:v>0.93988906739832823</c:v>
                </c:pt>
                <c:pt idx="168">
                  <c:v>0.94168563132296668</c:v>
                </c:pt>
                <c:pt idx="169">
                  <c:v>0.94348059129065442</c:v>
                </c:pt>
                <c:pt idx="170">
                  <c:v>0.94524530309396837</c:v>
                </c:pt>
                <c:pt idx="171">
                  <c:v>0.94698517009733474</c:v>
                </c:pt>
                <c:pt idx="172">
                  <c:v>0.94869985161709014</c:v>
                </c:pt>
                <c:pt idx="173">
                  <c:v>0.95036486525008657</c:v>
                </c:pt>
                <c:pt idx="174">
                  <c:v>0.95201682112246999</c:v>
                </c:pt>
                <c:pt idx="175">
                  <c:v>0.95365493493808717</c:v>
                </c:pt>
                <c:pt idx="176">
                  <c:v>0.95525652018099672</c:v>
                </c:pt>
                <c:pt idx="177">
                  <c:v>0.95685028253771343</c:v>
                </c:pt>
                <c:pt idx="178">
                  <c:v>0.95836894522462512</c:v>
                </c:pt>
                <c:pt idx="179">
                  <c:v>0.9597897260100865</c:v>
                </c:pt>
                <c:pt idx="180">
                  <c:v>0.96121050679554787</c:v>
                </c:pt>
                <c:pt idx="181">
                  <c:v>0.96258930271202758</c:v>
                </c:pt>
                <c:pt idx="182">
                  <c:v>0.96395653536335457</c:v>
                </c:pt>
                <c:pt idx="183">
                  <c:v>0.96531800040725357</c:v>
                </c:pt>
                <c:pt idx="184">
                  <c:v>0.96665584151675721</c:v>
                </c:pt>
                <c:pt idx="185">
                  <c:v>0.96795805573256466</c:v>
                </c:pt>
                <c:pt idx="186">
                  <c:v>0.96925186595742008</c:v>
                </c:pt>
                <c:pt idx="187">
                  <c:v>0.97054484451107492</c:v>
                </c:pt>
                <c:pt idx="188">
                  <c:v>0.97180620378716642</c:v>
                </c:pt>
                <c:pt idx="189">
                  <c:v>0.97305359034427663</c:v>
                </c:pt>
                <c:pt idx="190">
                  <c:v>0.97429554443868527</c:v>
                </c:pt>
                <c:pt idx="191">
                  <c:v>0.97553448610953197</c:v>
                </c:pt>
                <c:pt idx="192">
                  <c:v>0.97677223420163373</c:v>
                </c:pt>
                <c:pt idx="193">
                  <c:v>0.9780074041209863</c:v>
                </c:pt>
                <c:pt idx="194">
                  <c:v>0.97924106785965315</c:v>
                </c:pt>
                <c:pt idx="195">
                  <c:v>0.98043933737239874</c:v>
                </c:pt>
                <c:pt idx="196">
                  <c:v>0.98161761286589067</c:v>
                </c:pt>
                <c:pt idx="197">
                  <c:v>0.9827771907200108</c:v>
                </c:pt>
                <c:pt idx="198">
                  <c:v>0.98393001407525993</c:v>
                </c:pt>
                <c:pt idx="199">
                  <c:v>0.98508134571444128</c:v>
                </c:pt>
                <c:pt idx="200">
                  <c:v>0.98622071130182343</c:v>
                </c:pt>
                <c:pt idx="201">
                  <c:v>0.98733612496928569</c:v>
                </c:pt>
                <c:pt idx="202">
                  <c:v>0.9884202951511214</c:v>
                </c:pt>
                <c:pt idx="203">
                  <c:v>0.98949272395710397</c:v>
                </c:pt>
                <c:pt idx="204">
                  <c:v>0.99056456427550366</c:v>
                </c:pt>
                <c:pt idx="205">
                  <c:v>0.99161712979689332</c:v>
                </c:pt>
                <c:pt idx="206">
                  <c:v>0.99261544517713574</c:v>
                </c:pt>
                <c:pt idx="207">
                  <c:v>0.9936099887513018</c:v>
                </c:pt>
                <c:pt idx="208">
                  <c:v>0.99460310847295708</c:v>
                </c:pt>
                <c:pt idx="209">
                  <c:v>0.99559264821525084</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catAx>
        <c:axId val="348025768"/>
        <c:scaling>
          <c:orientation val="minMax"/>
        </c:scaling>
        <c:delete val="1"/>
        <c:axPos val="b"/>
        <c:numFmt formatCode="General" sourceLinked="1"/>
        <c:majorTickMark val="none"/>
        <c:minorTickMark val="none"/>
        <c:tickLblPos val="nextTo"/>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spPr>
        <a:noFill/>
        <a:ln>
          <a:noFill/>
        </a:ln>
        <a:effectLst/>
      </c:spPr>
    </c:plotArea>
    <c:legend>
      <c:legendPos val="b"/>
      <c:layout>
        <c:manualLayout>
          <c:xMode val="edge"/>
          <c:yMode val="edge"/>
          <c:x val="0.2607416666666667"/>
          <c:y val="0.95250275586758992"/>
          <c:w val="0.43276944444444443"/>
          <c:h val="4.0531766502206475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1"/>
          </a:solidFill>
          <a:latin typeface="+mn-lt"/>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8.459558812230189E-2"/>
          <c:w val="0.92363706105292032"/>
          <c:h val="0.69046866666051987"/>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C76F-4230-900D-40618C09729F}"/>
              </c:ext>
            </c:extLst>
          </c:dPt>
          <c:dPt>
            <c:idx val="1"/>
            <c:bubble3D val="0"/>
            <c:extLst>
              <c:ext xmlns:c16="http://schemas.microsoft.com/office/drawing/2014/chart" uri="{C3380CC4-5D6E-409C-BE32-E72D297353CC}">
                <c16:uniqueId val="{00000003-C76F-4230-900D-40618C09729F}"/>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B$2:$B$61</c:f>
              <c:numCache>
                <c:formatCode>General</c:formatCode>
                <c:ptCount val="60"/>
                <c:pt idx="0">
                  <c:v>0.7</c:v>
                </c:pt>
                <c:pt idx="1">
                  <c:v>0.6</c:v>
                </c:pt>
                <c:pt idx="2">
                  <c:v>0.67</c:v>
                </c:pt>
                <c:pt idx="3">
                  <c:v>0.72</c:v>
                </c:pt>
                <c:pt idx="4">
                  <c:v>0.66</c:v>
                </c:pt>
                <c:pt idx="5">
                  <c:v>0.67</c:v>
                </c:pt>
                <c:pt idx="6">
                  <c:v>0.57999999999999996</c:v>
                </c:pt>
                <c:pt idx="7">
                  <c:v>0.57999999999999996</c:v>
                </c:pt>
                <c:pt idx="8">
                  <c:v>0.65</c:v>
                </c:pt>
                <c:pt idx="9">
                  <c:v>0.47</c:v>
                </c:pt>
                <c:pt idx="10">
                  <c:v>0.66</c:v>
                </c:pt>
                <c:pt idx="11">
                  <c:v>0.14000000000000001</c:v>
                </c:pt>
                <c:pt idx="12">
                  <c:v>0.13</c:v>
                </c:pt>
                <c:pt idx="13">
                  <c:v>0.12</c:v>
                </c:pt>
                <c:pt idx="14">
                  <c:v>0.11</c:v>
                </c:pt>
                <c:pt idx="15">
                  <c:v>0.48</c:v>
                </c:pt>
                <c:pt idx="16">
                  <c:v>0.64</c:v>
                </c:pt>
                <c:pt idx="17">
                  <c:v>0.56999999999999995</c:v>
                </c:pt>
                <c:pt idx="18">
                  <c:v>0.6</c:v>
                </c:pt>
                <c:pt idx="19">
                  <c:v>0.47</c:v>
                </c:pt>
                <c:pt idx="20">
                  <c:v>0.61</c:v>
                </c:pt>
                <c:pt idx="21">
                  <c:v>0.47</c:v>
                </c:pt>
                <c:pt idx="22">
                  <c:v>0.68</c:v>
                </c:pt>
                <c:pt idx="23">
                  <c:v>0.38</c:v>
                </c:pt>
                <c:pt idx="24">
                  <c:v>0.63</c:v>
                </c:pt>
                <c:pt idx="25">
                  <c:v>0.55000000000000004</c:v>
                </c:pt>
                <c:pt idx="26">
                  <c:v>0.3</c:v>
                </c:pt>
                <c:pt idx="27">
                  <c:v>0.59</c:v>
                </c:pt>
                <c:pt idx="28">
                  <c:v>0.05</c:v>
                </c:pt>
                <c:pt idx="29">
                  <c:v>0.44</c:v>
                </c:pt>
                <c:pt idx="30">
                  <c:v>0.56000000000000005</c:v>
                </c:pt>
                <c:pt idx="31">
                  <c:v>0.64</c:v>
                </c:pt>
                <c:pt idx="32">
                  <c:v>0.6</c:v>
                </c:pt>
                <c:pt idx="33">
                  <c:v>0.64</c:v>
                </c:pt>
                <c:pt idx="34">
                  <c:v>0.61</c:v>
                </c:pt>
                <c:pt idx="35">
                  <c:v>0.35</c:v>
                </c:pt>
                <c:pt idx="36">
                  <c:v>7.0000000000000007E-2</c:v>
                </c:pt>
                <c:pt idx="37">
                  <c:v>0.35</c:v>
                </c:pt>
                <c:pt idx="38">
                  <c:v>0.59</c:v>
                </c:pt>
                <c:pt idx="39">
                  <c:v>0.6</c:v>
                </c:pt>
                <c:pt idx="40">
                  <c:v>0.61</c:v>
                </c:pt>
                <c:pt idx="41">
                  <c:v>0.39</c:v>
                </c:pt>
                <c:pt idx="42">
                  <c:v>0.42</c:v>
                </c:pt>
                <c:pt idx="43">
                  <c:v>0.42</c:v>
                </c:pt>
                <c:pt idx="44">
                  <c:v>0.31</c:v>
                </c:pt>
                <c:pt idx="45">
                  <c:v>0.54</c:v>
                </c:pt>
                <c:pt idx="46">
                  <c:v>0.59</c:v>
                </c:pt>
                <c:pt idx="47">
                  <c:v>0.55000000000000004</c:v>
                </c:pt>
                <c:pt idx="48">
                  <c:v>0.43</c:v>
                </c:pt>
                <c:pt idx="49">
                  <c:v>0.6</c:v>
                </c:pt>
                <c:pt idx="50">
                  <c:v>0.59</c:v>
                </c:pt>
                <c:pt idx="51">
                  <c:v>0.64</c:v>
                </c:pt>
                <c:pt idx="52">
                  <c:v>0.67</c:v>
                </c:pt>
                <c:pt idx="53">
                  <c:v>0.66</c:v>
                </c:pt>
                <c:pt idx="54">
                  <c:v>0.59</c:v>
                </c:pt>
                <c:pt idx="55">
                  <c:v>0.66</c:v>
                </c:pt>
                <c:pt idx="56">
                  <c:v>0.14000000000000001</c:v>
                </c:pt>
                <c:pt idx="57">
                  <c:v>0.34</c:v>
                </c:pt>
                <c:pt idx="58">
                  <c:v>0.09</c:v>
                </c:pt>
                <c:pt idx="59">
                  <c:v>0.59</c:v>
                </c:pt>
              </c:numCache>
            </c:numRef>
          </c:val>
          <c:extLst>
            <c:ext xmlns:c16="http://schemas.microsoft.com/office/drawing/2014/chart" uri="{C3380CC4-5D6E-409C-BE32-E72D297353CC}">
              <c16:uniqueId val="{00000004-C76F-4230-900D-40618C09729F}"/>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C76F-4230-900D-40618C09729F}"/>
              </c:ext>
            </c:extLst>
          </c:dPt>
          <c:dPt>
            <c:idx val="1"/>
            <c:invertIfNegative val="0"/>
            <c:bubble3D val="0"/>
            <c:spPr>
              <a:solidFill>
                <a:srgbClr val="00A097"/>
              </a:solidFill>
            </c:spPr>
            <c:extLst>
              <c:ext xmlns:c16="http://schemas.microsoft.com/office/drawing/2014/chart" uri="{C3380CC4-5D6E-409C-BE32-E72D297353CC}">
                <c16:uniqueId val="{00000008-C76F-4230-900D-40618C09729F}"/>
              </c:ext>
            </c:extLst>
          </c:dPt>
          <c:dPt>
            <c:idx val="2"/>
            <c:invertIfNegative val="0"/>
            <c:bubble3D val="0"/>
            <c:spPr>
              <a:solidFill>
                <a:srgbClr val="00A097"/>
              </a:solidFill>
            </c:spPr>
            <c:extLst>
              <c:ext xmlns:c16="http://schemas.microsoft.com/office/drawing/2014/chart" uri="{C3380CC4-5D6E-409C-BE32-E72D297353CC}">
                <c16:uniqueId val="{0000000A-C76F-4230-900D-40618C09729F}"/>
              </c:ext>
            </c:extLst>
          </c:dPt>
          <c:dPt>
            <c:idx val="3"/>
            <c:invertIfNegative val="0"/>
            <c:bubble3D val="0"/>
            <c:spPr>
              <a:solidFill>
                <a:srgbClr val="00A097"/>
              </a:solidFill>
            </c:spPr>
            <c:extLst>
              <c:ext xmlns:c16="http://schemas.microsoft.com/office/drawing/2014/chart" uri="{C3380CC4-5D6E-409C-BE32-E72D297353CC}">
                <c16:uniqueId val="{0000000C-C76F-4230-900D-40618C09729F}"/>
              </c:ext>
            </c:extLst>
          </c:dPt>
          <c:dPt>
            <c:idx val="4"/>
            <c:invertIfNegative val="0"/>
            <c:bubble3D val="0"/>
            <c:spPr>
              <a:solidFill>
                <a:srgbClr val="00A097"/>
              </a:solidFill>
            </c:spPr>
            <c:extLst>
              <c:ext xmlns:c16="http://schemas.microsoft.com/office/drawing/2014/chart" uri="{C3380CC4-5D6E-409C-BE32-E72D297353CC}">
                <c16:uniqueId val="{0000000E-C76F-4230-900D-40618C09729F}"/>
              </c:ext>
            </c:extLst>
          </c:dPt>
          <c:dPt>
            <c:idx val="5"/>
            <c:invertIfNegative val="0"/>
            <c:bubble3D val="0"/>
            <c:spPr>
              <a:solidFill>
                <a:srgbClr val="00A097"/>
              </a:solidFill>
            </c:spPr>
            <c:extLst>
              <c:ext xmlns:c16="http://schemas.microsoft.com/office/drawing/2014/chart" uri="{C3380CC4-5D6E-409C-BE32-E72D297353CC}">
                <c16:uniqueId val="{00000010-C76F-4230-900D-40618C09729F}"/>
              </c:ext>
            </c:extLst>
          </c:dPt>
          <c:dPt>
            <c:idx val="6"/>
            <c:invertIfNegative val="0"/>
            <c:bubble3D val="0"/>
            <c:spPr>
              <a:solidFill>
                <a:srgbClr val="00A097"/>
              </a:solidFill>
            </c:spPr>
            <c:extLst>
              <c:ext xmlns:c16="http://schemas.microsoft.com/office/drawing/2014/chart" uri="{C3380CC4-5D6E-409C-BE32-E72D297353CC}">
                <c16:uniqueId val="{00000045-2993-41DE-A2CB-63102DE87051}"/>
              </c:ext>
            </c:extLst>
          </c:dPt>
          <c:dPt>
            <c:idx val="7"/>
            <c:invertIfNegative val="1"/>
            <c:bubble3D val="0"/>
            <c:spPr>
              <a:solidFill>
                <a:srgbClr val="00A097"/>
              </a:solidFill>
            </c:spPr>
            <c:extLst>
              <c:ext xmlns:c16="http://schemas.microsoft.com/office/drawing/2014/chart" uri="{C3380CC4-5D6E-409C-BE32-E72D297353CC}">
                <c16:uniqueId val="{00000047-2993-41DE-A2CB-63102DE87051}"/>
              </c:ext>
            </c:extLst>
          </c:dPt>
          <c:dPt>
            <c:idx val="8"/>
            <c:invertIfNegative val="1"/>
            <c:bubble3D val="0"/>
            <c:spPr>
              <a:solidFill>
                <a:srgbClr val="00A097"/>
              </a:solidFill>
            </c:spPr>
            <c:extLst>
              <c:ext xmlns:c16="http://schemas.microsoft.com/office/drawing/2014/chart" uri="{C3380CC4-5D6E-409C-BE32-E72D297353CC}">
                <c16:uniqueId val="{00000049-2993-41DE-A2CB-63102DE87051}"/>
              </c:ext>
            </c:extLst>
          </c:dPt>
          <c:dPt>
            <c:idx val="9"/>
            <c:invertIfNegative val="1"/>
            <c:bubble3D val="0"/>
            <c:spPr>
              <a:solidFill>
                <a:srgbClr val="00A097"/>
              </a:solidFill>
            </c:spPr>
            <c:extLst>
              <c:ext xmlns:c16="http://schemas.microsoft.com/office/drawing/2014/chart" uri="{C3380CC4-5D6E-409C-BE32-E72D297353CC}">
                <c16:uniqueId val="{0000004B-2993-41DE-A2CB-63102DE87051}"/>
              </c:ext>
            </c:extLst>
          </c:dPt>
          <c:dPt>
            <c:idx val="10"/>
            <c:invertIfNegative val="1"/>
            <c:bubble3D val="0"/>
            <c:spPr>
              <a:solidFill>
                <a:srgbClr val="00A097"/>
              </a:solidFill>
            </c:spPr>
            <c:extLst>
              <c:ext xmlns:c16="http://schemas.microsoft.com/office/drawing/2014/chart" uri="{C3380CC4-5D6E-409C-BE32-E72D297353CC}">
                <c16:uniqueId val="{0000004D-2993-41DE-A2CB-63102DE87051}"/>
              </c:ext>
            </c:extLst>
          </c:dPt>
          <c:dPt>
            <c:idx val="11"/>
            <c:invertIfNegative val="1"/>
            <c:bubble3D val="0"/>
            <c:spPr>
              <a:solidFill>
                <a:srgbClr val="00A097"/>
              </a:solidFill>
            </c:spPr>
            <c:extLst>
              <c:ext xmlns:c16="http://schemas.microsoft.com/office/drawing/2014/chart" uri="{C3380CC4-5D6E-409C-BE32-E72D297353CC}">
                <c16:uniqueId val="{0000004F-2993-41DE-A2CB-63102DE87051}"/>
              </c:ext>
            </c:extLst>
          </c:dPt>
          <c:dPt>
            <c:idx val="12"/>
            <c:invertIfNegative val="1"/>
            <c:bubble3D val="0"/>
            <c:spPr>
              <a:solidFill>
                <a:srgbClr val="00A097"/>
              </a:solidFill>
            </c:spPr>
            <c:extLst>
              <c:ext xmlns:c16="http://schemas.microsoft.com/office/drawing/2014/chart" uri="{C3380CC4-5D6E-409C-BE32-E72D297353CC}">
                <c16:uniqueId val="{00000051-2993-41DE-A2CB-63102DE87051}"/>
              </c:ext>
            </c:extLst>
          </c:dPt>
          <c:dPt>
            <c:idx val="13"/>
            <c:invertIfNegative val="1"/>
            <c:bubble3D val="0"/>
            <c:spPr>
              <a:solidFill>
                <a:srgbClr val="00A097"/>
              </a:solidFill>
            </c:spPr>
            <c:extLst>
              <c:ext xmlns:c16="http://schemas.microsoft.com/office/drawing/2014/chart" uri="{C3380CC4-5D6E-409C-BE32-E72D297353CC}">
                <c16:uniqueId val="{00000053-2993-41DE-A2CB-63102DE87051}"/>
              </c:ext>
            </c:extLst>
          </c:dPt>
          <c:dPt>
            <c:idx val="14"/>
            <c:invertIfNegative val="1"/>
            <c:bubble3D val="0"/>
            <c:spPr>
              <a:solidFill>
                <a:srgbClr val="00A097"/>
              </a:solidFill>
            </c:spPr>
            <c:extLst>
              <c:ext xmlns:c16="http://schemas.microsoft.com/office/drawing/2014/chart" uri="{C3380CC4-5D6E-409C-BE32-E72D297353CC}">
                <c16:uniqueId val="{00000055-2993-41DE-A2CB-63102DE87051}"/>
              </c:ext>
            </c:extLst>
          </c:dPt>
          <c:dPt>
            <c:idx val="15"/>
            <c:invertIfNegative val="1"/>
            <c:bubble3D val="0"/>
            <c:spPr>
              <a:solidFill>
                <a:srgbClr val="00A097"/>
              </a:solidFill>
            </c:spPr>
            <c:extLst>
              <c:ext xmlns:c16="http://schemas.microsoft.com/office/drawing/2014/chart" uri="{C3380CC4-5D6E-409C-BE32-E72D297353CC}">
                <c16:uniqueId val="{00000057-2993-41DE-A2CB-63102DE87051}"/>
              </c:ext>
            </c:extLst>
          </c:dPt>
          <c:dPt>
            <c:idx val="16"/>
            <c:invertIfNegative val="1"/>
            <c:bubble3D val="0"/>
            <c:spPr>
              <a:solidFill>
                <a:srgbClr val="00A097"/>
              </a:solidFill>
            </c:spPr>
            <c:extLst>
              <c:ext xmlns:c16="http://schemas.microsoft.com/office/drawing/2014/chart" uri="{C3380CC4-5D6E-409C-BE32-E72D297353CC}">
                <c16:uniqueId val="{00000059-2993-41DE-A2CB-63102DE87051}"/>
              </c:ext>
            </c:extLst>
          </c:dPt>
          <c:dPt>
            <c:idx val="17"/>
            <c:invertIfNegative val="1"/>
            <c:bubble3D val="0"/>
            <c:spPr>
              <a:solidFill>
                <a:srgbClr val="00A097"/>
              </a:solidFill>
            </c:spPr>
            <c:extLst>
              <c:ext xmlns:c16="http://schemas.microsoft.com/office/drawing/2014/chart" uri="{C3380CC4-5D6E-409C-BE32-E72D297353CC}">
                <c16:uniqueId val="{0000005B-2993-41DE-A2CB-63102DE87051}"/>
              </c:ext>
            </c:extLst>
          </c:dPt>
          <c:dPt>
            <c:idx val="18"/>
            <c:invertIfNegative val="1"/>
            <c:bubble3D val="0"/>
            <c:spPr>
              <a:solidFill>
                <a:srgbClr val="00A097"/>
              </a:solidFill>
            </c:spPr>
            <c:extLst>
              <c:ext xmlns:c16="http://schemas.microsoft.com/office/drawing/2014/chart" uri="{C3380CC4-5D6E-409C-BE32-E72D297353CC}">
                <c16:uniqueId val="{0000005D-2993-41DE-A2CB-63102DE87051}"/>
              </c:ext>
            </c:extLst>
          </c:dPt>
          <c:dPt>
            <c:idx val="19"/>
            <c:invertIfNegative val="1"/>
            <c:bubble3D val="0"/>
            <c:spPr>
              <a:solidFill>
                <a:srgbClr val="00A097"/>
              </a:solidFill>
            </c:spPr>
            <c:extLst>
              <c:ext xmlns:c16="http://schemas.microsoft.com/office/drawing/2014/chart" uri="{C3380CC4-5D6E-409C-BE32-E72D297353CC}">
                <c16:uniqueId val="{0000005F-2993-41DE-A2CB-63102DE87051}"/>
              </c:ext>
            </c:extLst>
          </c:dPt>
          <c:dPt>
            <c:idx val="20"/>
            <c:invertIfNegative val="1"/>
            <c:bubble3D val="0"/>
            <c:spPr>
              <a:solidFill>
                <a:srgbClr val="00A097"/>
              </a:solidFill>
            </c:spPr>
            <c:extLst>
              <c:ext xmlns:c16="http://schemas.microsoft.com/office/drawing/2014/chart" uri="{C3380CC4-5D6E-409C-BE32-E72D297353CC}">
                <c16:uniqueId val="{00000061-2993-41DE-A2CB-63102DE87051}"/>
              </c:ext>
            </c:extLst>
          </c:dPt>
          <c:dPt>
            <c:idx val="21"/>
            <c:invertIfNegative val="1"/>
            <c:bubble3D val="0"/>
            <c:spPr>
              <a:solidFill>
                <a:srgbClr val="00A097"/>
              </a:solidFill>
            </c:spPr>
            <c:extLst>
              <c:ext xmlns:c16="http://schemas.microsoft.com/office/drawing/2014/chart" uri="{C3380CC4-5D6E-409C-BE32-E72D297353CC}">
                <c16:uniqueId val="{00000063-2993-41DE-A2CB-63102DE87051}"/>
              </c:ext>
            </c:extLst>
          </c:dPt>
          <c:dPt>
            <c:idx val="22"/>
            <c:invertIfNegative val="1"/>
            <c:bubble3D val="0"/>
            <c:spPr>
              <a:solidFill>
                <a:srgbClr val="00A097"/>
              </a:solidFill>
            </c:spPr>
            <c:extLst>
              <c:ext xmlns:c16="http://schemas.microsoft.com/office/drawing/2014/chart" uri="{C3380CC4-5D6E-409C-BE32-E72D297353CC}">
                <c16:uniqueId val="{00000065-2993-41DE-A2CB-63102DE87051}"/>
              </c:ext>
            </c:extLst>
          </c:dPt>
          <c:dPt>
            <c:idx val="23"/>
            <c:invertIfNegative val="1"/>
            <c:bubble3D val="0"/>
            <c:spPr>
              <a:solidFill>
                <a:srgbClr val="00A097"/>
              </a:solidFill>
            </c:spPr>
            <c:extLst>
              <c:ext xmlns:c16="http://schemas.microsoft.com/office/drawing/2014/chart" uri="{C3380CC4-5D6E-409C-BE32-E72D297353CC}">
                <c16:uniqueId val="{00000067-2993-41DE-A2CB-63102DE87051}"/>
              </c:ext>
            </c:extLst>
          </c:dPt>
          <c:dPt>
            <c:idx val="24"/>
            <c:invertIfNegative val="1"/>
            <c:bubble3D val="0"/>
            <c:spPr>
              <a:solidFill>
                <a:srgbClr val="00A097"/>
              </a:solidFill>
            </c:spPr>
            <c:extLst>
              <c:ext xmlns:c16="http://schemas.microsoft.com/office/drawing/2014/chart" uri="{C3380CC4-5D6E-409C-BE32-E72D297353CC}">
                <c16:uniqueId val="{00000069-2993-41DE-A2CB-63102DE87051}"/>
              </c:ext>
            </c:extLst>
          </c:dPt>
          <c:dPt>
            <c:idx val="25"/>
            <c:invertIfNegative val="1"/>
            <c:bubble3D val="0"/>
            <c:spPr>
              <a:solidFill>
                <a:srgbClr val="00A097"/>
              </a:solidFill>
            </c:spPr>
            <c:extLst>
              <c:ext xmlns:c16="http://schemas.microsoft.com/office/drawing/2014/chart" uri="{C3380CC4-5D6E-409C-BE32-E72D297353CC}">
                <c16:uniqueId val="{0000006B-2993-41DE-A2CB-63102DE87051}"/>
              </c:ext>
            </c:extLst>
          </c:dPt>
          <c:dPt>
            <c:idx val="26"/>
            <c:invertIfNegative val="1"/>
            <c:bubble3D val="0"/>
            <c:spPr>
              <a:solidFill>
                <a:srgbClr val="00A097"/>
              </a:solidFill>
            </c:spPr>
            <c:extLst>
              <c:ext xmlns:c16="http://schemas.microsoft.com/office/drawing/2014/chart" uri="{C3380CC4-5D6E-409C-BE32-E72D297353CC}">
                <c16:uniqueId val="{0000006D-2993-41DE-A2CB-63102DE87051}"/>
              </c:ext>
            </c:extLst>
          </c:dPt>
          <c:dPt>
            <c:idx val="27"/>
            <c:invertIfNegative val="1"/>
            <c:bubble3D val="0"/>
            <c:spPr>
              <a:solidFill>
                <a:srgbClr val="00A097"/>
              </a:solidFill>
            </c:spPr>
            <c:extLst>
              <c:ext xmlns:c16="http://schemas.microsoft.com/office/drawing/2014/chart" uri="{C3380CC4-5D6E-409C-BE32-E72D297353CC}">
                <c16:uniqueId val="{0000006F-2993-41DE-A2CB-63102DE87051}"/>
              </c:ext>
            </c:extLst>
          </c:dPt>
          <c:dPt>
            <c:idx val="28"/>
            <c:invertIfNegative val="1"/>
            <c:bubble3D val="0"/>
            <c:spPr>
              <a:solidFill>
                <a:srgbClr val="00A097"/>
              </a:solidFill>
            </c:spPr>
            <c:extLst>
              <c:ext xmlns:c16="http://schemas.microsoft.com/office/drawing/2014/chart" uri="{C3380CC4-5D6E-409C-BE32-E72D297353CC}">
                <c16:uniqueId val="{00000071-2993-41DE-A2CB-63102DE87051}"/>
              </c:ext>
            </c:extLst>
          </c:dPt>
          <c:dPt>
            <c:idx val="29"/>
            <c:invertIfNegative val="1"/>
            <c:bubble3D val="0"/>
            <c:spPr>
              <a:solidFill>
                <a:srgbClr val="00A097"/>
              </a:solidFill>
            </c:spPr>
            <c:extLst>
              <c:ext xmlns:c16="http://schemas.microsoft.com/office/drawing/2014/chart" uri="{C3380CC4-5D6E-409C-BE32-E72D297353CC}">
                <c16:uniqueId val="{00000073-2993-41DE-A2CB-63102DE87051}"/>
              </c:ext>
            </c:extLst>
          </c:dPt>
          <c:dPt>
            <c:idx val="30"/>
            <c:invertIfNegative val="1"/>
            <c:bubble3D val="0"/>
            <c:spPr>
              <a:solidFill>
                <a:srgbClr val="00A097"/>
              </a:solidFill>
            </c:spPr>
            <c:extLst>
              <c:ext xmlns:c16="http://schemas.microsoft.com/office/drawing/2014/chart" uri="{C3380CC4-5D6E-409C-BE32-E72D297353CC}">
                <c16:uniqueId val="{00000075-2993-41DE-A2CB-63102DE87051}"/>
              </c:ext>
            </c:extLst>
          </c:dPt>
          <c:dPt>
            <c:idx val="31"/>
            <c:invertIfNegative val="1"/>
            <c:bubble3D val="0"/>
            <c:spPr>
              <a:solidFill>
                <a:srgbClr val="00A097"/>
              </a:solidFill>
            </c:spPr>
            <c:extLst>
              <c:ext xmlns:c16="http://schemas.microsoft.com/office/drawing/2014/chart" uri="{C3380CC4-5D6E-409C-BE32-E72D297353CC}">
                <c16:uniqueId val="{00000077-2993-41DE-A2CB-63102DE87051}"/>
              </c:ext>
            </c:extLst>
          </c:dPt>
          <c:dPt>
            <c:idx val="32"/>
            <c:invertIfNegative val="1"/>
            <c:bubble3D val="0"/>
            <c:spPr>
              <a:solidFill>
                <a:srgbClr val="00A097"/>
              </a:solidFill>
            </c:spPr>
            <c:extLst>
              <c:ext xmlns:c16="http://schemas.microsoft.com/office/drawing/2014/chart" uri="{C3380CC4-5D6E-409C-BE32-E72D297353CC}">
                <c16:uniqueId val="{00000079-2993-41DE-A2CB-63102DE87051}"/>
              </c:ext>
            </c:extLst>
          </c:dPt>
          <c:dPt>
            <c:idx val="33"/>
            <c:invertIfNegative val="1"/>
            <c:bubble3D val="0"/>
            <c:spPr>
              <a:solidFill>
                <a:srgbClr val="00A097"/>
              </a:solidFill>
            </c:spPr>
            <c:extLst>
              <c:ext xmlns:c16="http://schemas.microsoft.com/office/drawing/2014/chart" uri="{C3380CC4-5D6E-409C-BE32-E72D297353CC}">
                <c16:uniqueId val="{0000007B-2993-41DE-A2CB-63102DE87051}"/>
              </c:ext>
            </c:extLst>
          </c:dPt>
          <c:dPt>
            <c:idx val="34"/>
            <c:invertIfNegative val="1"/>
            <c:bubble3D val="0"/>
            <c:spPr>
              <a:solidFill>
                <a:srgbClr val="00A097"/>
              </a:solidFill>
            </c:spPr>
            <c:extLst>
              <c:ext xmlns:c16="http://schemas.microsoft.com/office/drawing/2014/chart" uri="{C3380CC4-5D6E-409C-BE32-E72D297353CC}">
                <c16:uniqueId val="{0000007D-2993-41DE-A2CB-63102DE87051}"/>
              </c:ext>
            </c:extLst>
          </c:dPt>
          <c:dPt>
            <c:idx val="35"/>
            <c:invertIfNegative val="1"/>
            <c:bubble3D val="0"/>
            <c:spPr>
              <a:solidFill>
                <a:srgbClr val="00A097"/>
              </a:solidFill>
            </c:spPr>
            <c:extLst>
              <c:ext xmlns:c16="http://schemas.microsoft.com/office/drawing/2014/chart" uri="{C3380CC4-5D6E-409C-BE32-E72D297353CC}">
                <c16:uniqueId val="{0000007F-2993-41DE-A2CB-63102DE87051}"/>
              </c:ext>
            </c:extLst>
          </c:dPt>
          <c:dPt>
            <c:idx val="36"/>
            <c:invertIfNegative val="1"/>
            <c:bubble3D val="0"/>
            <c:spPr>
              <a:solidFill>
                <a:srgbClr val="00A097"/>
              </a:solidFill>
            </c:spPr>
            <c:extLst>
              <c:ext xmlns:c16="http://schemas.microsoft.com/office/drawing/2014/chart" uri="{C3380CC4-5D6E-409C-BE32-E72D297353CC}">
                <c16:uniqueId val="{00000081-2993-41DE-A2CB-63102DE87051}"/>
              </c:ext>
            </c:extLst>
          </c:dPt>
          <c:dPt>
            <c:idx val="37"/>
            <c:invertIfNegative val="1"/>
            <c:bubble3D val="0"/>
            <c:spPr>
              <a:solidFill>
                <a:srgbClr val="00A097"/>
              </a:solidFill>
            </c:spPr>
            <c:extLst>
              <c:ext xmlns:c16="http://schemas.microsoft.com/office/drawing/2014/chart" uri="{C3380CC4-5D6E-409C-BE32-E72D297353CC}">
                <c16:uniqueId val="{00000083-2993-41DE-A2CB-63102DE87051}"/>
              </c:ext>
            </c:extLst>
          </c:dPt>
          <c:dPt>
            <c:idx val="38"/>
            <c:invertIfNegative val="1"/>
            <c:bubble3D val="0"/>
            <c:spPr>
              <a:solidFill>
                <a:srgbClr val="00A097"/>
              </a:solidFill>
            </c:spPr>
            <c:extLst>
              <c:ext xmlns:c16="http://schemas.microsoft.com/office/drawing/2014/chart" uri="{C3380CC4-5D6E-409C-BE32-E72D297353CC}">
                <c16:uniqueId val="{00000085-2993-41DE-A2CB-63102DE87051}"/>
              </c:ext>
            </c:extLst>
          </c:dPt>
          <c:dPt>
            <c:idx val="39"/>
            <c:invertIfNegative val="1"/>
            <c:bubble3D val="0"/>
            <c:spPr>
              <a:solidFill>
                <a:srgbClr val="00A097"/>
              </a:solidFill>
            </c:spPr>
            <c:extLst>
              <c:ext xmlns:c16="http://schemas.microsoft.com/office/drawing/2014/chart" uri="{C3380CC4-5D6E-409C-BE32-E72D297353CC}">
                <c16:uniqueId val="{00000087-2993-41DE-A2CB-63102DE87051}"/>
              </c:ext>
            </c:extLst>
          </c:dPt>
          <c:dPt>
            <c:idx val="40"/>
            <c:invertIfNegative val="1"/>
            <c:bubble3D val="0"/>
            <c:spPr>
              <a:solidFill>
                <a:srgbClr val="00A097"/>
              </a:solidFill>
            </c:spPr>
            <c:extLst>
              <c:ext xmlns:c16="http://schemas.microsoft.com/office/drawing/2014/chart" uri="{C3380CC4-5D6E-409C-BE32-E72D297353CC}">
                <c16:uniqueId val="{00000089-2993-41DE-A2CB-63102DE87051}"/>
              </c:ext>
            </c:extLst>
          </c:dPt>
          <c:dPt>
            <c:idx val="41"/>
            <c:invertIfNegative val="1"/>
            <c:bubble3D val="0"/>
            <c:spPr>
              <a:solidFill>
                <a:srgbClr val="00A097"/>
              </a:solidFill>
            </c:spPr>
            <c:extLst>
              <c:ext xmlns:c16="http://schemas.microsoft.com/office/drawing/2014/chart" uri="{C3380CC4-5D6E-409C-BE32-E72D297353CC}">
                <c16:uniqueId val="{0000008B-2993-41DE-A2CB-63102DE87051}"/>
              </c:ext>
            </c:extLst>
          </c:dPt>
          <c:dPt>
            <c:idx val="42"/>
            <c:invertIfNegative val="1"/>
            <c:bubble3D val="0"/>
            <c:spPr>
              <a:solidFill>
                <a:srgbClr val="00A097"/>
              </a:solidFill>
            </c:spPr>
            <c:extLst>
              <c:ext xmlns:c16="http://schemas.microsoft.com/office/drawing/2014/chart" uri="{C3380CC4-5D6E-409C-BE32-E72D297353CC}">
                <c16:uniqueId val="{0000008D-2993-41DE-A2CB-63102DE87051}"/>
              </c:ext>
            </c:extLst>
          </c:dPt>
          <c:dPt>
            <c:idx val="43"/>
            <c:invertIfNegative val="1"/>
            <c:bubble3D val="0"/>
            <c:spPr>
              <a:solidFill>
                <a:srgbClr val="00A097"/>
              </a:solidFill>
            </c:spPr>
            <c:extLst>
              <c:ext xmlns:c16="http://schemas.microsoft.com/office/drawing/2014/chart" uri="{C3380CC4-5D6E-409C-BE32-E72D297353CC}">
                <c16:uniqueId val="{0000008F-2993-41DE-A2CB-63102DE87051}"/>
              </c:ext>
            </c:extLst>
          </c:dPt>
          <c:dPt>
            <c:idx val="44"/>
            <c:invertIfNegative val="1"/>
            <c:bubble3D val="0"/>
            <c:spPr>
              <a:solidFill>
                <a:srgbClr val="00A097"/>
              </a:solidFill>
            </c:spPr>
            <c:extLst>
              <c:ext xmlns:c16="http://schemas.microsoft.com/office/drawing/2014/chart" uri="{C3380CC4-5D6E-409C-BE32-E72D297353CC}">
                <c16:uniqueId val="{00000091-2993-41DE-A2CB-63102DE87051}"/>
              </c:ext>
            </c:extLst>
          </c:dPt>
          <c:dPt>
            <c:idx val="45"/>
            <c:invertIfNegative val="1"/>
            <c:bubble3D val="0"/>
            <c:spPr>
              <a:solidFill>
                <a:srgbClr val="00A097"/>
              </a:solidFill>
            </c:spPr>
            <c:extLst>
              <c:ext xmlns:c16="http://schemas.microsoft.com/office/drawing/2014/chart" uri="{C3380CC4-5D6E-409C-BE32-E72D297353CC}">
                <c16:uniqueId val="{00000093-2993-41DE-A2CB-63102DE87051}"/>
              </c:ext>
            </c:extLst>
          </c:dPt>
          <c:dPt>
            <c:idx val="46"/>
            <c:invertIfNegative val="1"/>
            <c:bubble3D val="0"/>
            <c:spPr>
              <a:solidFill>
                <a:srgbClr val="00A097"/>
              </a:solidFill>
            </c:spPr>
            <c:extLst>
              <c:ext xmlns:c16="http://schemas.microsoft.com/office/drawing/2014/chart" uri="{C3380CC4-5D6E-409C-BE32-E72D297353CC}">
                <c16:uniqueId val="{00000095-2993-41DE-A2CB-63102DE87051}"/>
              </c:ext>
            </c:extLst>
          </c:dPt>
          <c:dPt>
            <c:idx val="47"/>
            <c:invertIfNegative val="1"/>
            <c:bubble3D val="0"/>
            <c:spPr>
              <a:solidFill>
                <a:srgbClr val="00A097"/>
              </a:solidFill>
            </c:spPr>
            <c:extLst>
              <c:ext xmlns:c16="http://schemas.microsoft.com/office/drawing/2014/chart" uri="{C3380CC4-5D6E-409C-BE32-E72D297353CC}">
                <c16:uniqueId val="{00000097-2993-41DE-A2CB-63102DE87051}"/>
              </c:ext>
            </c:extLst>
          </c:dPt>
          <c:dPt>
            <c:idx val="48"/>
            <c:invertIfNegative val="1"/>
            <c:bubble3D val="0"/>
            <c:spPr>
              <a:solidFill>
                <a:srgbClr val="00A097"/>
              </a:solidFill>
            </c:spPr>
            <c:extLst>
              <c:ext xmlns:c16="http://schemas.microsoft.com/office/drawing/2014/chart" uri="{C3380CC4-5D6E-409C-BE32-E72D297353CC}">
                <c16:uniqueId val="{00000099-2993-41DE-A2CB-63102DE87051}"/>
              </c:ext>
            </c:extLst>
          </c:dPt>
          <c:dPt>
            <c:idx val="49"/>
            <c:invertIfNegative val="1"/>
            <c:bubble3D val="0"/>
            <c:spPr>
              <a:solidFill>
                <a:srgbClr val="00A097"/>
              </a:solidFill>
            </c:spPr>
            <c:extLst>
              <c:ext xmlns:c16="http://schemas.microsoft.com/office/drawing/2014/chart" uri="{C3380CC4-5D6E-409C-BE32-E72D297353CC}">
                <c16:uniqueId val="{0000009B-2993-41DE-A2CB-63102DE87051}"/>
              </c:ext>
            </c:extLst>
          </c:dPt>
          <c:dPt>
            <c:idx val="50"/>
            <c:invertIfNegative val="1"/>
            <c:bubble3D val="0"/>
            <c:spPr>
              <a:solidFill>
                <a:srgbClr val="00A097"/>
              </a:solidFill>
            </c:spPr>
            <c:extLst>
              <c:ext xmlns:c16="http://schemas.microsoft.com/office/drawing/2014/chart" uri="{C3380CC4-5D6E-409C-BE32-E72D297353CC}">
                <c16:uniqueId val="{0000009D-2993-41DE-A2CB-63102DE87051}"/>
              </c:ext>
            </c:extLst>
          </c:dPt>
          <c:dPt>
            <c:idx val="51"/>
            <c:invertIfNegative val="1"/>
            <c:bubble3D val="0"/>
            <c:spPr>
              <a:solidFill>
                <a:srgbClr val="00A097"/>
              </a:solidFill>
            </c:spPr>
            <c:extLst>
              <c:ext xmlns:c16="http://schemas.microsoft.com/office/drawing/2014/chart" uri="{C3380CC4-5D6E-409C-BE32-E72D297353CC}">
                <c16:uniqueId val="{0000009F-2993-41DE-A2CB-63102DE87051}"/>
              </c:ext>
            </c:extLst>
          </c:dPt>
          <c:dPt>
            <c:idx val="52"/>
            <c:invertIfNegative val="1"/>
            <c:bubble3D val="0"/>
            <c:spPr>
              <a:solidFill>
                <a:srgbClr val="00A097"/>
              </a:solidFill>
            </c:spPr>
            <c:extLst>
              <c:ext xmlns:c16="http://schemas.microsoft.com/office/drawing/2014/chart" uri="{C3380CC4-5D6E-409C-BE32-E72D297353CC}">
                <c16:uniqueId val="{000000A1-2993-41DE-A2CB-63102DE87051}"/>
              </c:ext>
            </c:extLst>
          </c:dPt>
          <c:dPt>
            <c:idx val="53"/>
            <c:invertIfNegative val="1"/>
            <c:bubble3D val="0"/>
            <c:spPr>
              <a:solidFill>
                <a:srgbClr val="00A097"/>
              </a:solidFill>
            </c:spPr>
            <c:extLst>
              <c:ext xmlns:c16="http://schemas.microsoft.com/office/drawing/2014/chart" uri="{C3380CC4-5D6E-409C-BE32-E72D297353CC}">
                <c16:uniqueId val="{000000A3-2993-41DE-A2CB-63102DE87051}"/>
              </c:ext>
            </c:extLst>
          </c:dPt>
          <c:dPt>
            <c:idx val="54"/>
            <c:invertIfNegative val="0"/>
            <c:bubble3D val="0"/>
            <c:spPr>
              <a:solidFill>
                <a:srgbClr val="00A097"/>
              </a:solidFill>
            </c:spPr>
            <c:extLst>
              <c:ext xmlns:c16="http://schemas.microsoft.com/office/drawing/2014/chart" uri="{C3380CC4-5D6E-409C-BE32-E72D297353CC}">
                <c16:uniqueId val="{00000072-C76F-4230-900D-40618C09729F}"/>
              </c:ext>
            </c:extLst>
          </c:dPt>
          <c:dPt>
            <c:idx val="55"/>
            <c:invertIfNegative val="0"/>
            <c:bubble3D val="0"/>
            <c:spPr>
              <a:solidFill>
                <a:srgbClr val="00A097"/>
              </a:solidFill>
            </c:spPr>
            <c:extLst>
              <c:ext xmlns:c16="http://schemas.microsoft.com/office/drawing/2014/chart" uri="{C3380CC4-5D6E-409C-BE32-E72D297353CC}">
                <c16:uniqueId val="{00000074-C76F-4230-900D-40618C09729F}"/>
              </c:ext>
            </c:extLst>
          </c:dPt>
          <c:dPt>
            <c:idx val="56"/>
            <c:invertIfNegative val="0"/>
            <c:bubble3D val="0"/>
            <c:spPr>
              <a:solidFill>
                <a:srgbClr val="00A097"/>
              </a:solidFill>
            </c:spPr>
            <c:extLst>
              <c:ext xmlns:c16="http://schemas.microsoft.com/office/drawing/2014/chart" uri="{C3380CC4-5D6E-409C-BE32-E72D297353CC}">
                <c16:uniqueId val="{00000076-C76F-4230-900D-40618C09729F}"/>
              </c:ext>
            </c:extLst>
          </c:dPt>
          <c:dPt>
            <c:idx val="57"/>
            <c:invertIfNegative val="0"/>
            <c:bubble3D val="0"/>
            <c:spPr>
              <a:solidFill>
                <a:srgbClr val="00A097"/>
              </a:solidFill>
            </c:spPr>
            <c:extLst>
              <c:ext xmlns:c16="http://schemas.microsoft.com/office/drawing/2014/chart" uri="{C3380CC4-5D6E-409C-BE32-E72D297353CC}">
                <c16:uniqueId val="{00000078-C76F-4230-900D-40618C09729F}"/>
              </c:ext>
            </c:extLst>
          </c:dPt>
          <c:dPt>
            <c:idx val="58"/>
            <c:invertIfNegative val="0"/>
            <c:bubble3D val="0"/>
            <c:spPr>
              <a:solidFill>
                <a:srgbClr val="00A097"/>
              </a:solidFill>
            </c:spPr>
            <c:extLst>
              <c:ext xmlns:c16="http://schemas.microsoft.com/office/drawing/2014/chart" uri="{C3380CC4-5D6E-409C-BE32-E72D297353CC}">
                <c16:uniqueId val="{0000007A-C76F-4230-900D-40618C09729F}"/>
              </c:ext>
            </c:extLst>
          </c:dPt>
          <c:dPt>
            <c:idx val="59"/>
            <c:invertIfNegative val="0"/>
            <c:bubble3D val="0"/>
            <c:spPr>
              <a:solidFill>
                <a:srgbClr val="00A097"/>
              </a:solidFill>
            </c:spPr>
            <c:extLst>
              <c:ext xmlns:c16="http://schemas.microsoft.com/office/drawing/2014/chart" uri="{C3380CC4-5D6E-409C-BE32-E72D297353CC}">
                <c16:uniqueId val="{0000007C-C76F-4230-900D-40618C09729F}"/>
              </c:ext>
            </c:extLst>
          </c:dPt>
          <c:dPt>
            <c:idx val="60"/>
            <c:invertIfNegative val="0"/>
            <c:bubble3D val="0"/>
            <c:spPr>
              <a:solidFill>
                <a:srgbClr val="00A097"/>
              </a:solidFill>
            </c:spPr>
            <c:extLst>
              <c:ext xmlns:c16="http://schemas.microsoft.com/office/drawing/2014/chart" uri="{C3380CC4-5D6E-409C-BE32-E72D297353CC}">
                <c16:uniqueId val="{0000007E-C76F-4230-900D-40618C09729F}"/>
              </c:ext>
            </c:extLst>
          </c:dPt>
          <c:dPt>
            <c:idx val="61"/>
            <c:invertIfNegative val="0"/>
            <c:bubble3D val="0"/>
            <c:spPr>
              <a:solidFill>
                <a:srgbClr val="00A097"/>
              </a:solidFill>
            </c:spPr>
            <c:extLst>
              <c:ext xmlns:c16="http://schemas.microsoft.com/office/drawing/2014/chart" uri="{C3380CC4-5D6E-409C-BE32-E72D297353CC}">
                <c16:uniqueId val="{00000080-C76F-4230-900D-40618C09729F}"/>
              </c:ext>
            </c:extLst>
          </c:dPt>
          <c:dPt>
            <c:idx val="62"/>
            <c:invertIfNegative val="0"/>
            <c:bubble3D val="0"/>
            <c:spPr>
              <a:solidFill>
                <a:srgbClr val="00A097"/>
              </a:solidFill>
            </c:spPr>
            <c:extLst>
              <c:ext xmlns:c16="http://schemas.microsoft.com/office/drawing/2014/chart" uri="{C3380CC4-5D6E-409C-BE32-E72D297353CC}">
                <c16:uniqueId val="{00000082-C76F-4230-900D-40618C09729F}"/>
              </c:ext>
            </c:extLst>
          </c:dPt>
          <c:dPt>
            <c:idx val="63"/>
            <c:invertIfNegative val="0"/>
            <c:bubble3D val="0"/>
            <c:spPr>
              <a:solidFill>
                <a:srgbClr val="00A097"/>
              </a:solidFill>
            </c:spPr>
            <c:extLst>
              <c:ext xmlns:c16="http://schemas.microsoft.com/office/drawing/2014/chart" uri="{C3380CC4-5D6E-409C-BE32-E72D297353CC}">
                <c16:uniqueId val="{00000084-C76F-4230-900D-40618C09729F}"/>
              </c:ext>
            </c:extLst>
          </c:dPt>
          <c:dPt>
            <c:idx val="64"/>
            <c:invertIfNegative val="0"/>
            <c:bubble3D val="0"/>
            <c:spPr>
              <a:solidFill>
                <a:srgbClr val="00A097"/>
              </a:solidFill>
            </c:spPr>
            <c:extLst>
              <c:ext xmlns:c16="http://schemas.microsoft.com/office/drawing/2014/chart" uri="{C3380CC4-5D6E-409C-BE32-E72D297353CC}">
                <c16:uniqueId val="{00000086-C76F-4230-900D-40618C09729F}"/>
              </c:ext>
            </c:extLst>
          </c:dPt>
          <c:dPt>
            <c:idx val="65"/>
            <c:invertIfNegative val="0"/>
            <c:bubble3D val="0"/>
            <c:spPr>
              <a:solidFill>
                <a:srgbClr val="00A097"/>
              </a:solidFill>
            </c:spPr>
            <c:extLst>
              <c:ext xmlns:c16="http://schemas.microsoft.com/office/drawing/2014/chart" uri="{C3380CC4-5D6E-409C-BE32-E72D297353CC}">
                <c16:uniqueId val="{00000088-C76F-4230-900D-40618C09729F}"/>
              </c:ext>
            </c:extLst>
          </c:dPt>
          <c:dPt>
            <c:idx val="66"/>
            <c:invertIfNegative val="0"/>
            <c:bubble3D val="0"/>
            <c:spPr>
              <a:solidFill>
                <a:srgbClr val="00A097"/>
              </a:solidFill>
            </c:spPr>
            <c:extLst>
              <c:ext xmlns:c16="http://schemas.microsoft.com/office/drawing/2014/chart" uri="{C3380CC4-5D6E-409C-BE32-E72D297353CC}">
                <c16:uniqueId val="{0000008A-C76F-4230-900D-40618C09729F}"/>
              </c:ext>
            </c:extLst>
          </c:dPt>
          <c:dPt>
            <c:idx val="67"/>
            <c:invertIfNegative val="0"/>
            <c:bubble3D val="0"/>
            <c:spPr>
              <a:solidFill>
                <a:srgbClr val="00A097"/>
              </a:solidFill>
            </c:spPr>
            <c:extLst>
              <c:ext xmlns:c16="http://schemas.microsoft.com/office/drawing/2014/chart" uri="{C3380CC4-5D6E-409C-BE32-E72D297353CC}">
                <c16:uniqueId val="{0000008C-C76F-4230-900D-40618C09729F}"/>
              </c:ext>
            </c:extLst>
          </c:dPt>
          <c:dPt>
            <c:idx val="68"/>
            <c:invertIfNegative val="0"/>
            <c:bubble3D val="0"/>
            <c:spPr>
              <a:solidFill>
                <a:srgbClr val="00A097"/>
              </a:solidFill>
            </c:spPr>
            <c:extLst>
              <c:ext xmlns:c16="http://schemas.microsoft.com/office/drawing/2014/chart" uri="{C3380CC4-5D6E-409C-BE32-E72D297353CC}">
                <c16:uniqueId val="{0000008E-C76F-4230-900D-40618C09729F}"/>
              </c:ext>
            </c:extLst>
          </c:dPt>
          <c:dPt>
            <c:idx val="69"/>
            <c:invertIfNegative val="0"/>
            <c:bubble3D val="0"/>
            <c:spPr>
              <a:solidFill>
                <a:srgbClr val="00A097"/>
              </a:solidFill>
            </c:spPr>
            <c:extLst>
              <c:ext xmlns:c16="http://schemas.microsoft.com/office/drawing/2014/chart" uri="{C3380CC4-5D6E-409C-BE32-E72D297353CC}">
                <c16:uniqueId val="{00000090-C76F-4230-900D-40618C09729F}"/>
              </c:ext>
            </c:extLst>
          </c:dPt>
          <c:dPt>
            <c:idx val="70"/>
            <c:invertIfNegative val="0"/>
            <c:bubble3D val="0"/>
            <c:spPr>
              <a:solidFill>
                <a:srgbClr val="00A097"/>
              </a:solidFill>
            </c:spPr>
            <c:extLst>
              <c:ext xmlns:c16="http://schemas.microsoft.com/office/drawing/2014/chart" uri="{C3380CC4-5D6E-409C-BE32-E72D297353CC}">
                <c16:uniqueId val="{00000092-C76F-4230-900D-40618C09729F}"/>
              </c:ext>
            </c:extLst>
          </c:dPt>
          <c:dPt>
            <c:idx val="71"/>
            <c:invertIfNegative val="0"/>
            <c:bubble3D val="0"/>
            <c:spPr>
              <a:solidFill>
                <a:srgbClr val="00A097"/>
              </a:solidFill>
            </c:spPr>
            <c:extLst>
              <c:ext xmlns:c16="http://schemas.microsoft.com/office/drawing/2014/chart" uri="{C3380CC4-5D6E-409C-BE32-E72D297353CC}">
                <c16:uniqueId val="{00000094-C76F-4230-900D-40618C09729F}"/>
              </c:ext>
            </c:extLst>
          </c:dPt>
          <c:dPt>
            <c:idx val="72"/>
            <c:invertIfNegative val="0"/>
            <c:bubble3D val="0"/>
            <c:spPr>
              <a:solidFill>
                <a:srgbClr val="00A097"/>
              </a:solidFill>
            </c:spPr>
            <c:extLst>
              <c:ext xmlns:c16="http://schemas.microsoft.com/office/drawing/2014/chart" uri="{C3380CC4-5D6E-409C-BE32-E72D297353CC}">
                <c16:uniqueId val="{00000096-C76F-4230-900D-40618C09729F}"/>
              </c:ext>
            </c:extLst>
          </c:dPt>
          <c:dPt>
            <c:idx val="73"/>
            <c:invertIfNegative val="0"/>
            <c:bubble3D val="0"/>
            <c:spPr>
              <a:solidFill>
                <a:srgbClr val="00A097"/>
              </a:solidFill>
            </c:spPr>
            <c:extLst>
              <c:ext xmlns:c16="http://schemas.microsoft.com/office/drawing/2014/chart" uri="{C3380CC4-5D6E-409C-BE32-E72D297353CC}">
                <c16:uniqueId val="{00000098-C76F-4230-900D-40618C09729F}"/>
              </c:ext>
            </c:extLst>
          </c:dPt>
          <c:dPt>
            <c:idx val="74"/>
            <c:invertIfNegative val="0"/>
            <c:bubble3D val="0"/>
            <c:spPr>
              <a:solidFill>
                <a:srgbClr val="00A097"/>
              </a:solidFill>
            </c:spPr>
            <c:extLst>
              <c:ext xmlns:c16="http://schemas.microsoft.com/office/drawing/2014/chart" uri="{C3380CC4-5D6E-409C-BE32-E72D297353CC}">
                <c16:uniqueId val="{0000009A-C76F-4230-900D-40618C09729F}"/>
              </c:ext>
            </c:extLst>
          </c:dPt>
          <c:dPt>
            <c:idx val="75"/>
            <c:invertIfNegative val="0"/>
            <c:bubble3D val="0"/>
            <c:spPr>
              <a:solidFill>
                <a:srgbClr val="00A097"/>
              </a:solidFill>
            </c:spPr>
            <c:extLst>
              <c:ext xmlns:c16="http://schemas.microsoft.com/office/drawing/2014/chart" uri="{C3380CC4-5D6E-409C-BE32-E72D297353CC}">
                <c16:uniqueId val="{0000009C-C76F-4230-900D-40618C09729F}"/>
              </c:ext>
            </c:extLst>
          </c:dPt>
          <c:dPt>
            <c:idx val="76"/>
            <c:invertIfNegative val="0"/>
            <c:bubble3D val="0"/>
            <c:spPr>
              <a:solidFill>
                <a:srgbClr val="00A097"/>
              </a:solidFill>
            </c:spPr>
            <c:extLst>
              <c:ext xmlns:c16="http://schemas.microsoft.com/office/drawing/2014/chart" uri="{C3380CC4-5D6E-409C-BE32-E72D297353CC}">
                <c16:uniqueId val="{0000009E-C76F-4230-900D-40618C09729F}"/>
              </c:ext>
            </c:extLst>
          </c:dPt>
          <c:dPt>
            <c:idx val="77"/>
            <c:invertIfNegative val="0"/>
            <c:bubble3D val="0"/>
            <c:spPr>
              <a:solidFill>
                <a:srgbClr val="00A097"/>
              </a:solidFill>
            </c:spPr>
            <c:extLst>
              <c:ext xmlns:c16="http://schemas.microsoft.com/office/drawing/2014/chart" uri="{C3380CC4-5D6E-409C-BE32-E72D297353CC}">
                <c16:uniqueId val="{000000A0-C76F-4230-900D-40618C09729F}"/>
              </c:ext>
            </c:extLst>
          </c:dPt>
          <c:dPt>
            <c:idx val="78"/>
            <c:invertIfNegative val="0"/>
            <c:bubble3D val="0"/>
            <c:spPr>
              <a:solidFill>
                <a:srgbClr val="00A097"/>
              </a:solidFill>
            </c:spPr>
            <c:extLst>
              <c:ext xmlns:c16="http://schemas.microsoft.com/office/drawing/2014/chart" uri="{C3380CC4-5D6E-409C-BE32-E72D297353CC}">
                <c16:uniqueId val="{000000A2-C76F-4230-900D-40618C09729F}"/>
              </c:ext>
            </c:extLst>
          </c:dPt>
          <c:dPt>
            <c:idx val="79"/>
            <c:invertIfNegative val="0"/>
            <c:bubble3D val="0"/>
            <c:spPr>
              <a:solidFill>
                <a:srgbClr val="00A097"/>
              </a:solidFill>
            </c:spPr>
            <c:extLst>
              <c:ext xmlns:c16="http://schemas.microsoft.com/office/drawing/2014/chart" uri="{C3380CC4-5D6E-409C-BE32-E72D297353CC}">
                <c16:uniqueId val="{000000A4-C76F-4230-900D-40618C09729F}"/>
              </c:ext>
            </c:extLst>
          </c:dPt>
          <c:dPt>
            <c:idx val="80"/>
            <c:invertIfNegative val="0"/>
            <c:bubble3D val="0"/>
            <c:spPr>
              <a:solidFill>
                <a:srgbClr val="00A097"/>
              </a:solidFill>
            </c:spPr>
            <c:extLst>
              <c:ext xmlns:c16="http://schemas.microsoft.com/office/drawing/2014/chart" uri="{C3380CC4-5D6E-409C-BE32-E72D297353CC}">
                <c16:uniqueId val="{000000A6-C76F-4230-900D-40618C09729F}"/>
              </c:ext>
            </c:extLst>
          </c:dPt>
          <c:dPt>
            <c:idx val="81"/>
            <c:invertIfNegative val="1"/>
            <c:bubble3D val="0"/>
            <c:spPr>
              <a:solidFill>
                <a:srgbClr val="00A097"/>
              </a:solidFill>
            </c:spPr>
            <c:extLst>
              <c:ext xmlns:c16="http://schemas.microsoft.com/office/drawing/2014/chart" uri="{C3380CC4-5D6E-409C-BE32-E72D297353CC}">
                <c16:uniqueId val="{000000A5-2993-41DE-A2CB-63102DE87051}"/>
              </c:ext>
            </c:extLst>
          </c:dPt>
          <c:dPt>
            <c:idx val="82"/>
            <c:invertIfNegative val="1"/>
            <c:bubble3D val="0"/>
            <c:spPr>
              <a:solidFill>
                <a:srgbClr val="00A097"/>
              </a:solidFill>
            </c:spPr>
            <c:extLst>
              <c:ext xmlns:c16="http://schemas.microsoft.com/office/drawing/2014/chart" uri="{C3380CC4-5D6E-409C-BE32-E72D297353CC}">
                <c16:uniqueId val="{000000A7-2993-41DE-A2CB-63102DE87051}"/>
              </c:ext>
            </c:extLst>
          </c:dPt>
          <c:dPt>
            <c:idx val="83"/>
            <c:invertIfNegative val="1"/>
            <c:bubble3D val="0"/>
            <c:spPr>
              <a:solidFill>
                <a:srgbClr val="00A097"/>
              </a:solidFill>
            </c:spPr>
            <c:extLst>
              <c:ext xmlns:c16="http://schemas.microsoft.com/office/drawing/2014/chart" uri="{C3380CC4-5D6E-409C-BE32-E72D297353CC}">
                <c16:uniqueId val="{000000A9-2993-41DE-A2CB-63102DE87051}"/>
              </c:ext>
            </c:extLst>
          </c:dPt>
          <c:dPt>
            <c:idx val="84"/>
            <c:invertIfNegative val="1"/>
            <c:bubble3D val="0"/>
            <c:spPr>
              <a:solidFill>
                <a:srgbClr val="00A097"/>
              </a:solidFill>
            </c:spPr>
            <c:extLst>
              <c:ext xmlns:c16="http://schemas.microsoft.com/office/drawing/2014/chart" uri="{C3380CC4-5D6E-409C-BE32-E72D297353CC}">
                <c16:uniqueId val="{000000AB-2993-41DE-A2CB-63102DE87051}"/>
              </c:ext>
            </c:extLst>
          </c:dPt>
          <c:dPt>
            <c:idx val="85"/>
            <c:invertIfNegative val="1"/>
            <c:bubble3D val="0"/>
            <c:spPr>
              <a:solidFill>
                <a:srgbClr val="00A097"/>
              </a:solidFill>
            </c:spPr>
            <c:extLst>
              <c:ext xmlns:c16="http://schemas.microsoft.com/office/drawing/2014/chart" uri="{C3380CC4-5D6E-409C-BE32-E72D297353CC}">
                <c16:uniqueId val="{000000AD-2993-41DE-A2CB-63102DE87051}"/>
              </c:ext>
            </c:extLst>
          </c:dPt>
          <c:dPt>
            <c:idx val="86"/>
            <c:invertIfNegative val="1"/>
            <c:bubble3D val="0"/>
            <c:spPr>
              <a:solidFill>
                <a:srgbClr val="00A097"/>
              </a:solidFill>
            </c:spPr>
            <c:extLst>
              <c:ext xmlns:c16="http://schemas.microsoft.com/office/drawing/2014/chart" uri="{C3380CC4-5D6E-409C-BE32-E72D297353CC}">
                <c16:uniqueId val="{000000AF-2993-41DE-A2CB-63102DE87051}"/>
              </c:ext>
            </c:extLst>
          </c:dPt>
          <c:dPt>
            <c:idx val="87"/>
            <c:invertIfNegative val="1"/>
            <c:bubble3D val="0"/>
            <c:spPr>
              <a:solidFill>
                <a:srgbClr val="00A097"/>
              </a:solidFill>
            </c:spPr>
            <c:extLst>
              <c:ext xmlns:c16="http://schemas.microsoft.com/office/drawing/2014/chart" uri="{C3380CC4-5D6E-409C-BE32-E72D297353CC}">
                <c16:uniqueId val="{000000B1-2993-41DE-A2CB-63102DE87051}"/>
              </c:ext>
            </c:extLst>
          </c:dPt>
          <c:dPt>
            <c:idx val="88"/>
            <c:invertIfNegative val="1"/>
            <c:bubble3D val="0"/>
            <c:spPr>
              <a:solidFill>
                <a:srgbClr val="00A097"/>
              </a:solidFill>
            </c:spPr>
            <c:extLst>
              <c:ext xmlns:c16="http://schemas.microsoft.com/office/drawing/2014/chart" uri="{C3380CC4-5D6E-409C-BE32-E72D297353CC}">
                <c16:uniqueId val="{000000B3-2993-41DE-A2CB-63102DE87051}"/>
              </c:ext>
            </c:extLst>
          </c:dPt>
          <c:dPt>
            <c:idx val="89"/>
            <c:invertIfNegative val="1"/>
            <c:bubble3D val="0"/>
            <c:spPr>
              <a:solidFill>
                <a:srgbClr val="00A097"/>
              </a:solidFill>
            </c:spPr>
            <c:extLst>
              <c:ext xmlns:c16="http://schemas.microsoft.com/office/drawing/2014/chart" uri="{C3380CC4-5D6E-409C-BE32-E72D297353CC}">
                <c16:uniqueId val="{000000B5-2993-41DE-A2CB-63102DE87051}"/>
              </c:ext>
            </c:extLst>
          </c:dPt>
          <c:dPt>
            <c:idx val="90"/>
            <c:invertIfNegative val="1"/>
            <c:bubble3D val="0"/>
            <c:spPr>
              <a:solidFill>
                <a:srgbClr val="00A097"/>
              </a:solidFill>
            </c:spPr>
            <c:extLst>
              <c:ext xmlns:c16="http://schemas.microsoft.com/office/drawing/2014/chart" uri="{C3380CC4-5D6E-409C-BE32-E72D297353CC}">
                <c16:uniqueId val="{000000B7-2993-41DE-A2CB-63102DE87051}"/>
              </c:ext>
            </c:extLst>
          </c:dPt>
          <c:dPt>
            <c:idx val="91"/>
            <c:invertIfNegative val="1"/>
            <c:bubble3D val="0"/>
            <c:spPr>
              <a:solidFill>
                <a:srgbClr val="00A097"/>
              </a:solidFill>
            </c:spPr>
            <c:extLst>
              <c:ext xmlns:c16="http://schemas.microsoft.com/office/drawing/2014/chart" uri="{C3380CC4-5D6E-409C-BE32-E72D297353CC}">
                <c16:uniqueId val="{000000B9-2993-41DE-A2CB-63102DE87051}"/>
              </c:ext>
            </c:extLst>
          </c:dPt>
          <c:dPt>
            <c:idx val="92"/>
            <c:invertIfNegative val="1"/>
            <c:bubble3D val="0"/>
            <c:spPr>
              <a:solidFill>
                <a:srgbClr val="00A097"/>
              </a:solidFill>
            </c:spPr>
            <c:extLst>
              <c:ext xmlns:c16="http://schemas.microsoft.com/office/drawing/2014/chart" uri="{C3380CC4-5D6E-409C-BE32-E72D297353CC}">
                <c16:uniqueId val="{000000BB-2993-41DE-A2CB-63102DE87051}"/>
              </c:ext>
            </c:extLst>
          </c:dPt>
          <c:dPt>
            <c:idx val="93"/>
            <c:invertIfNegative val="1"/>
            <c:bubble3D val="0"/>
            <c:spPr>
              <a:solidFill>
                <a:srgbClr val="00A097"/>
              </a:solidFill>
            </c:spPr>
            <c:extLst>
              <c:ext xmlns:c16="http://schemas.microsoft.com/office/drawing/2014/chart" uri="{C3380CC4-5D6E-409C-BE32-E72D297353CC}">
                <c16:uniqueId val="{000000BD-2993-41DE-A2CB-63102DE87051}"/>
              </c:ext>
            </c:extLst>
          </c:dPt>
          <c:dPt>
            <c:idx val="94"/>
            <c:invertIfNegative val="1"/>
            <c:bubble3D val="0"/>
            <c:spPr>
              <a:solidFill>
                <a:srgbClr val="00A097"/>
              </a:solidFill>
            </c:spPr>
            <c:extLst>
              <c:ext xmlns:c16="http://schemas.microsoft.com/office/drawing/2014/chart" uri="{C3380CC4-5D6E-409C-BE32-E72D297353CC}">
                <c16:uniqueId val="{000000BF-2993-41DE-A2CB-63102DE87051}"/>
              </c:ext>
            </c:extLst>
          </c:dPt>
          <c:dPt>
            <c:idx val="95"/>
            <c:invertIfNegative val="1"/>
            <c:bubble3D val="0"/>
            <c:spPr>
              <a:solidFill>
                <a:srgbClr val="00A097"/>
              </a:solidFill>
            </c:spPr>
            <c:extLst>
              <c:ext xmlns:c16="http://schemas.microsoft.com/office/drawing/2014/chart" uri="{C3380CC4-5D6E-409C-BE32-E72D297353CC}">
                <c16:uniqueId val="{000000C1-2993-41DE-A2CB-63102DE87051}"/>
              </c:ext>
            </c:extLst>
          </c:dPt>
          <c:dPt>
            <c:idx val="96"/>
            <c:invertIfNegative val="1"/>
            <c:bubble3D val="0"/>
            <c:spPr>
              <a:solidFill>
                <a:srgbClr val="00A097"/>
              </a:solidFill>
            </c:spPr>
            <c:extLst>
              <c:ext xmlns:c16="http://schemas.microsoft.com/office/drawing/2014/chart" uri="{C3380CC4-5D6E-409C-BE32-E72D297353CC}">
                <c16:uniqueId val="{000000C3-2993-41DE-A2CB-63102DE87051}"/>
              </c:ext>
            </c:extLst>
          </c:dPt>
          <c:dPt>
            <c:idx val="97"/>
            <c:invertIfNegative val="1"/>
            <c:bubble3D val="0"/>
            <c:spPr>
              <a:solidFill>
                <a:srgbClr val="00A097"/>
              </a:solidFill>
            </c:spPr>
            <c:extLst>
              <c:ext xmlns:c16="http://schemas.microsoft.com/office/drawing/2014/chart" uri="{C3380CC4-5D6E-409C-BE32-E72D297353CC}">
                <c16:uniqueId val="{000000C5-2993-41DE-A2CB-63102DE87051}"/>
              </c:ext>
            </c:extLst>
          </c:dPt>
          <c:dPt>
            <c:idx val="98"/>
            <c:invertIfNegative val="1"/>
            <c:bubble3D val="0"/>
            <c:spPr>
              <a:solidFill>
                <a:srgbClr val="00A097"/>
              </a:solidFill>
            </c:spPr>
            <c:extLst>
              <c:ext xmlns:c16="http://schemas.microsoft.com/office/drawing/2014/chart" uri="{C3380CC4-5D6E-409C-BE32-E72D297353CC}">
                <c16:uniqueId val="{000000C7-2993-41DE-A2CB-63102DE87051}"/>
              </c:ext>
            </c:extLst>
          </c:dPt>
          <c:dPt>
            <c:idx val="99"/>
            <c:invertIfNegative val="1"/>
            <c:bubble3D val="0"/>
            <c:spPr>
              <a:solidFill>
                <a:srgbClr val="00A097"/>
              </a:solidFill>
            </c:spPr>
            <c:extLst>
              <c:ext xmlns:c16="http://schemas.microsoft.com/office/drawing/2014/chart" uri="{C3380CC4-5D6E-409C-BE32-E72D297353CC}">
                <c16:uniqueId val="{000000C9-2993-41DE-A2CB-63102DE87051}"/>
              </c:ext>
            </c:extLst>
          </c:dPt>
          <c:dPt>
            <c:idx val="100"/>
            <c:invertIfNegative val="1"/>
            <c:bubble3D val="0"/>
            <c:spPr>
              <a:solidFill>
                <a:srgbClr val="00A097"/>
              </a:solidFill>
            </c:spPr>
            <c:extLst>
              <c:ext xmlns:c16="http://schemas.microsoft.com/office/drawing/2014/chart" uri="{C3380CC4-5D6E-409C-BE32-E72D297353CC}">
                <c16:uniqueId val="{000000CB-2993-41DE-A2CB-63102DE87051}"/>
              </c:ext>
            </c:extLst>
          </c:dPt>
          <c:dPt>
            <c:idx val="101"/>
            <c:invertIfNegative val="1"/>
            <c:bubble3D val="0"/>
            <c:spPr>
              <a:solidFill>
                <a:srgbClr val="00A097"/>
              </a:solidFill>
            </c:spPr>
            <c:extLst>
              <c:ext xmlns:c16="http://schemas.microsoft.com/office/drawing/2014/chart" uri="{C3380CC4-5D6E-409C-BE32-E72D297353CC}">
                <c16:uniqueId val="{000000CD-2993-41DE-A2CB-63102DE87051}"/>
              </c:ext>
            </c:extLst>
          </c:dPt>
          <c:dPt>
            <c:idx val="102"/>
            <c:invertIfNegative val="1"/>
            <c:bubble3D val="0"/>
            <c:spPr>
              <a:solidFill>
                <a:srgbClr val="00A097"/>
              </a:solidFill>
            </c:spPr>
            <c:extLst>
              <c:ext xmlns:c16="http://schemas.microsoft.com/office/drawing/2014/chart" uri="{C3380CC4-5D6E-409C-BE32-E72D297353CC}">
                <c16:uniqueId val="{000000CF-2993-41DE-A2CB-63102DE87051}"/>
              </c:ext>
            </c:extLst>
          </c:dPt>
          <c:dPt>
            <c:idx val="103"/>
            <c:invertIfNegative val="1"/>
            <c:bubble3D val="0"/>
            <c:spPr>
              <a:solidFill>
                <a:srgbClr val="00A097"/>
              </a:solidFill>
            </c:spPr>
            <c:extLst>
              <c:ext xmlns:c16="http://schemas.microsoft.com/office/drawing/2014/chart" uri="{C3380CC4-5D6E-409C-BE32-E72D297353CC}">
                <c16:uniqueId val="{000000D1-2993-41DE-A2CB-63102DE87051}"/>
              </c:ext>
            </c:extLst>
          </c:dPt>
          <c:dPt>
            <c:idx val="104"/>
            <c:invertIfNegative val="1"/>
            <c:bubble3D val="0"/>
            <c:spPr>
              <a:solidFill>
                <a:srgbClr val="00A097"/>
              </a:solidFill>
            </c:spPr>
            <c:extLst>
              <c:ext xmlns:c16="http://schemas.microsoft.com/office/drawing/2014/chart" uri="{C3380CC4-5D6E-409C-BE32-E72D297353CC}">
                <c16:uniqueId val="{000000D3-2993-41DE-A2CB-63102DE87051}"/>
              </c:ext>
            </c:extLst>
          </c:dPt>
          <c:dPt>
            <c:idx val="105"/>
            <c:invertIfNegative val="1"/>
            <c:bubble3D val="0"/>
            <c:spPr>
              <a:solidFill>
                <a:srgbClr val="00A097"/>
              </a:solidFill>
            </c:spPr>
            <c:extLst>
              <c:ext xmlns:c16="http://schemas.microsoft.com/office/drawing/2014/chart" uri="{C3380CC4-5D6E-409C-BE32-E72D297353CC}">
                <c16:uniqueId val="{000000D5-2993-41DE-A2CB-63102DE87051}"/>
              </c:ext>
            </c:extLst>
          </c:dPt>
          <c:dPt>
            <c:idx val="106"/>
            <c:invertIfNegative val="1"/>
            <c:bubble3D val="0"/>
            <c:spPr>
              <a:solidFill>
                <a:srgbClr val="00A097"/>
              </a:solidFill>
            </c:spPr>
            <c:extLst>
              <c:ext xmlns:c16="http://schemas.microsoft.com/office/drawing/2014/chart" uri="{C3380CC4-5D6E-409C-BE32-E72D297353CC}">
                <c16:uniqueId val="{000000D7-2993-41DE-A2CB-63102DE87051}"/>
              </c:ext>
            </c:extLst>
          </c:dPt>
          <c:dPt>
            <c:idx val="107"/>
            <c:invertIfNegative val="1"/>
            <c:bubble3D val="0"/>
            <c:spPr>
              <a:solidFill>
                <a:srgbClr val="00A097"/>
              </a:solidFill>
            </c:spPr>
            <c:extLst>
              <c:ext xmlns:c16="http://schemas.microsoft.com/office/drawing/2014/chart" uri="{C3380CC4-5D6E-409C-BE32-E72D297353CC}">
                <c16:uniqueId val="{000000D9-2993-41DE-A2CB-63102DE87051}"/>
              </c:ext>
            </c:extLst>
          </c:dPt>
          <c:dPt>
            <c:idx val="108"/>
            <c:invertIfNegative val="1"/>
            <c:bubble3D val="0"/>
            <c:spPr>
              <a:solidFill>
                <a:srgbClr val="00A097"/>
              </a:solidFill>
            </c:spPr>
            <c:extLst>
              <c:ext xmlns:c16="http://schemas.microsoft.com/office/drawing/2014/chart" uri="{C3380CC4-5D6E-409C-BE32-E72D297353CC}">
                <c16:uniqueId val="{000000DB-2993-41DE-A2CB-63102DE87051}"/>
              </c:ext>
            </c:extLst>
          </c:dPt>
          <c:dPt>
            <c:idx val="109"/>
            <c:invertIfNegative val="1"/>
            <c:bubble3D val="0"/>
            <c:spPr>
              <a:solidFill>
                <a:srgbClr val="00A097"/>
              </a:solidFill>
            </c:spPr>
            <c:extLst>
              <c:ext xmlns:c16="http://schemas.microsoft.com/office/drawing/2014/chart" uri="{C3380CC4-5D6E-409C-BE32-E72D297353CC}">
                <c16:uniqueId val="{000000DD-2993-41DE-A2CB-63102DE87051}"/>
              </c:ext>
            </c:extLst>
          </c:dPt>
          <c:dPt>
            <c:idx val="110"/>
            <c:invertIfNegative val="1"/>
            <c:bubble3D val="0"/>
            <c:spPr>
              <a:solidFill>
                <a:srgbClr val="00A097"/>
              </a:solidFill>
            </c:spPr>
            <c:extLst>
              <c:ext xmlns:c16="http://schemas.microsoft.com/office/drawing/2014/chart" uri="{C3380CC4-5D6E-409C-BE32-E72D297353CC}">
                <c16:uniqueId val="{000000DF-2993-41DE-A2CB-63102DE87051}"/>
              </c:ext>
            </c:extLst>
          </c:dPt>
          <c:dPt>
            <c:idx val="111"/>
            <c:invertIfNegative val="1"/>
            <c:bubble3D val="0"/>
            <c:spPr>
              <a:solidFill>
                <a:srgbClr val="00A097"/>
              </a:solidFill>
            </c:spPr>
            <c:extLst>
              <c:ext xmlns:c16="http://schemas.microsoft.com/office/drawing/2014/chart" uri="{C3380CC4-5D6E-409C-BE32-E72D297353CC}">
                <c16:uniqueId val="{000000E1-2993-41DE-A2CB-63102DE87051}"/>
              </c:ext>
            </c:extLst>
          </c:dPt>
          <c:dPt>
            <c:idx val="112"/>
            <c:invertIfNegative val="1"/>
            <c:bubble3D val="0"/>
            <c:spPr>
              <a:solidFill>
                <a:srgbClr val="00A097"/>
              </a:solidFill>
            </c:spPr>
            <c:extLst>
              <c:ext xmlns:c16="http://schemas.microsoft.com/office/drawing/2014/chart" uri="{C3380CC4-5D6E-409C-BE32-E72D297353CC}">
                <c16:uniqueId val="{000000E3-2993-41DE-A2CB-63102DE87051}"/>
              </c:ext>
            </c:extLst>
          </c:dPt>
          <c:dPt>
            <c:idx val="113"/>
            <c:invertIfNegative val="1"/>
            <c:bubble3D val="0"/>
            <c:spPr>
              <a:solidFill>
                <a:srgbClr val="00A097"/>
              </a:solidFill>
            </c:spPr>
            <c:extLst>
              <c:ext xmlns:c16="http://schemas.microsoft.com/office/drawing/2014/chart" uri="{C3380CC4-5D6E-409C-BE32-E72D297353CC}">
                <c16:uniqueId val="{000000E5-2993-41DE-A2CB-63102DE87051}"/>
              </c:ext>
            </c:extLst>
          </c:dPt>
          <c:dPt>
            <c:idx val="114"/>
            <c:invertIfNegative val="1"/>
            <c:bubble3D val="0"/>
            <c:spPr>
              <a:solidFill>
                <a:srgbClr val="00A097"/>
              </a:solidFill>
            </c:spPr>
            <c:extLst>
              <c:ext xmlns:c16="http://schemas.microsoft.com/office/drawing/2014/chart" uri="{C3380CC4-5D6E-409C-BE32-E72D297353CC}">
                <c16:uniqueId val="{000000E7-2993-41DE-A2CB-63102DE87051}"/>
              </c:ext>
            </c:extLst>
          </c:dPt>
          <c:dPt>
            <c:idx val="115"/>
            <c:invertIfNegative val="1"/>
            <c:bubble3D val="0"/>
            <c:spPr>
              <a:solidFill>
                <a:srgbClr val="00A097"/>
              </a:solidFill>
            </c:spPr>
            <c:extLst>
              <c:ext xmlns:c16="http://schemas.microsoft.com/office/drawing/2014/chart" uri="{C3380CC4-5D6E-409C-BE32-E72D297353CC}">
                <c16:uniqueId val="{000000E9-2993-41DE-A2CB-63102DE87051}"/>
              </c:ext>
            </c:extLst>
          </c:dPt>
          <c:dPt>
            <c:idx val="116"/>
            <c:invertIfNegative val="1"/>
            <c:bubble3D val="0"/>
            <c:spPr>
              <a:solidFill>
                <a:srgbClr val="7ECAC4"/>
              </a:solidFill>
            </c:spPr>
            <c:extLst>
              <c:ext xmlns:c16="http://schemas.microsoft.com/office/drawing/2014/chart" uri="{C3380CC4-5D6E-409C-BE32-E72D297353CC}">
                <c16:uniqueId val="{000000EB-2993-41DE-A2CB-63102DE87051}"/>
              </c:ext>
            </c:extLst>
          </c:dPt>
          <c:dPt>
            <c:idx val="117"/>
            <c:invertIfNegative val="1"/>
            <c:bubble3D val="0"/>
            <c:spPr>
              <a:solidFill>
                <a:srgbClr val="7ECAC4"/>
              </a:solidFill>
            </c:spPr>
            <c:extLst>
              <c:ext xmlns:c16="http://schemas.microsoft.com/office/drawing/2014/chart" uri="{C3380CC4-5D6E-409C-BE32-E72D297353CC}">
                <c16:uniqueId val="{000000ED-2993-41DE-A2CB-63102DE87051}"/>
              </c:ext>
            </c:extLst>
          </c:dPt>
          <c:dPt>
            <c:idx val="118"/>
            <c:invertIfNegative val="1"/>
            <c:bubble3D val="0"/>
            <c:spPr>
              <a:solidFill>
                <a:srgbClr val="7ECAC4"/>
              </a:solidFill>
            </c:spPr>
            <c:extLst>
              <c:ext xmlns:c16="http://schemas.microsoft.com/office/drawing/2014/chart" uri="{C3380CC4-5D6E-409C-BE32-E72D297353CC}">
                <c16:uniqueId val="{000000EF-2993-41DE-A2CB-63102DE87051}"/>
              </c:ext>
            </c:extLst>
          </c:dPt>
          <c:dPt>
            <c:idx val="119"/>
            <c:invertIfNegative val="1"/>
            <c:bubble3D val="0"/>
            <c:spPr>
              <a:solidFill>
                <a:srgbClr val="7ECAC4"/>
              </a:solidFill>
            </c:spPr>
            <c:extLst>
              <c:ext xmlns:c16="http://schemas.microsoft.com/office/drawing/2014/chart" uri="{C3380CC4-5D6E-409C-BE32-E72D297353CC}">
                <c16:uniqueId val="{000000F1-2993-41DE-A2CB-63102DE87051}"/>
              </c:ext>
            </c:extLst>
          </c:dPt>
          <c:dPt>
            <c:idx val="120"/>
            <c:invertIfNegative val="1"/>
            <c:bubble3D val="0"/>
            <c:spPr>
              <a:solidFill>
                <a:srgbClr val="7ECAC4"/>
              </a:solidFill>
            </c:spPr>
            <c:extLst>
              <c:ext xmlns:c16="http://schemas.microsoft.com/office/drawing/2014/chart" uri="{C3380CC4-5D6E-409C-BE32-E72D297353CC}">
                <c16:uniqueId val="{000000F3-2993-41DE-A2CB-63102DE87051}"/>
              </c:ext>
            </c:extLst>
          </c:dPt>
          <c:dPt>
            <c:idx val="121"/>
            <c:invertIfNegative val="1"/>
            <c:bubble3D val="0"/>
            <c:spPr>
              <a:solidFill>
                <a:srgbClr val="7ECAC4"/>
              </a:solidFill>
            </c:spPr>
            <c:extLst>
              <c:ext xmlns:c16="http://schemas.microsoft.com/office/drawing/2014/chart" uri="{C3380CC4-5D6E-409C-BE32-E72D297353CC}">
                <c16:uniqueId val="{000000F5-2993-41DE-A2CB-63102DE87051}"/>
              </c:ext>
            </c:extLst>
          </c:dPt>
          <c:dPt>
            <c:idx val="122"/>
            <c:invertIfNegative val="1"/>
            <c:bubble3D val="0"/>
            <c:spPr>
              <a:solidFill>
                <a:srgbClr val="7ECAC4"/>
              </a:solidFill>
            </c:spPr>
            <c:extLst>
              <c:ext xmlns:c16="http://schemas.microsoft.com/office/drawing/2014/chart" uri="{C3380CC4-5D6E-409C-BE32-E72D297353CC}">
                <c16:uniqueId val="{000000F7-2993-41DE-A2CB-63102DE87051}"/>
              </c:ext>
            </c:extLst>
          </c:dPt>
          <c:dPt>
            <c:idx val="123"/>
            <c:invertIfNegative val="1"/>
            <c:bubble3D val="0"/>
            <c:spPr>
              <a:solidFill>
                <a:srgbClr val="7ECAC4"/>
              </a:solidFill>
            </c:spPr>
            <c:extLst>
              <c:ext xmlns:c16="http://schemas.microsoft.com/office/drawing/2014/chart" uri="{C3380CC4-5D6E-409C-BE32-E72D297353CC}">
                <c16:uniqueId val="{000000F9-2993-41DE-A2CB-63102DE87051}"/>
              </c:ext>
            </c:extLst>
          </c:dPt>
          <c:dPt>
            <c:idx val="124"/>
            <c:invertIfNegative val="1"/>
            <c:bubble3D val="0"/>
            <c:spPr>
              <a:solidFill>
                <a:srgbClr val="7ECAC4"/>
              </a:solidFill>
            </c:spPr>
            <c:extLst>
              <c:ext xmlns:c16="http://schemas.microsoft.com/office/drawing/2014/chart" uri="{C3380CC4-5D6E-409C-BE32-E72D297353CC}">
                <c16:uniqueId val="{000000FB-2993-41DE-A2CB-63102DE87051}"/>
              </c:ext>
            </c:extLst>
          </c:dPt>
          <c:dPt>
            <c:idx val="125"/>
            <c:invertIfNegative val="1"/>
            <c:bubble3D val="0"/>
            <c:spPr>
              <a:solidFill>
                <a:srgbClr val="7ECAC4"/>
              </a:solidFill>
            </c:spPr>
            <c:extLst>
              <c:ext xmlns:c16="http://schemas.microsoft.com/office/drawing/2014/chart" uri="{C3380CC4-5D6E-409C-BE32-E72D297353CC}">
                <c16:uniqueId val="{000000FD-2993-41DE-A2CB-63102DE87051}"/>
              </c:ext>
            </c:extLst>
          </c:dPt>
          <c:dPt>
            <c:idx val="126"/>
            <c:invertIfNegative val="1"/>
            <c:bubble3D val="0"/>
            <c:spPr>
              <a:solidFill>
                <a:srgbClr val="7ECAC4"/>
              </a:solidFill>
            </c:spPr>
            <c:extLst>
              <c:ext xmlns:c16="http://schemas.microsoft.com/office/drawing/2014/chart" uri="{C3380CC4-5D6E-409C-BE32-E72D297353CC}">
                <c16:uniqueId val="{000000FF-2993-41DE-A2CB-63102DE87051}"/>
              </c:ext>
            </c:extLst>
          </c:dPt>
          <c:dPt>
            <c:idx val="127"/>
            <c:invertIfNegative val="1"/>
            <c:bubble3D val="0"/>
            <c:spPr>
              <a:solidFill>
                <a:srgbClr val="7ECAC4"/>
              </a:solidFill>
            </c:spPr>
            <c:extLst>
              <c:ext xmlns:c16="http://schemas.microsoft.com/office/drawing/2014/chart" uri="{C3380CC4-5D6E-409C-BE32-E72D297353CC}">
                <c16:uniqueId val="{00000101-2993-41DE-A2CB-63102DE87051}"/>
              </c:ext>
            </c:extLst>
          </c:dPt>
          <c:dPt>
            <c:idx val="128"/>
            <c:invertIfNegative val="1"/>
            <c:bubble3D val="0"/>
            <c:spPr>
              <a:solidFill>
                <a:srgbClr val="7ECAC4"/>
              </a:solidFill>
            </c:spPr>
            <c:extLst>
              <c:ext xmlns:c16="http://schemas.microsoft.com/office/drawing/2014/chart" uri="{C3380CC4-5D6E-409C-BE32-E72D297353CC}">
                <c16:uniqueId val="{00000103-2993-41DE-A2CB-63102DE87051}"/>
              </c:ext>
            </c:extLst>
          </c:dPt>
          <c:dPt>
            <c:idx val="129"/>
            <c:invertIfNegative val="1"/>
            <c:bubble3D val="0"/>
            <c:spPr>
              <a:solidFill>
                <a:srgbClr val="7ECAC4"/>
              </a:solidFill>
            </c:spPr>
            <c:extLst>
              <c:ext xmlns:c16="http://schemas.microsoft.com/office/drawing/2014/chart" uri="{C3380CC4-5D6E-409C-BE32-E72D297353CC}">
                <c16:uniqueId val="{00000105-2993-41DE-A2CB-63102DE87051}"/>
              </c:ext>
            </c:extLst>
          </c:dPt>
          <c:dPt>
            <c:idx val="130"/>
            <c:invertIfNegative val="1"/>
            <c:bubble3D val="0"/>
            <c:spPr>
              <a:solidFill>
                <a:srgbClr val="7ECAC4"/>
              </a:solidFill>
            </c:spPr>
            <c:extLst>
              <c:ext xmlns:c16="http://schemas.microsoft.com/office/drawing/2014/chart" uri="{C3380CC4-5D6E-409C-BE32-E72D297353CC}">
                <c16:uniqueId val="{00000107-2993-41DE-A2CB-63102DE87051}"/>
              </c:ext>
            </c:extLst>
          </c:dPt>
          <c:dPt>
            <c:idx val="131"/>
            <c:invertIfNegative val="1"/>
            <c:bubble3D val="0"/>
            <c:spPr>
              <a:solidFill>
                <a:srgbClr val="7ECAC4"/>
              </a:solidFill>
            </c:spPr>
            <c:extLst>
              <c:ext xmlns:c16="http://schemas.microsoft.com/office/drawing/2014/chart" uri="{C3380CC4-5D6E-409C-BE32-E72D297353CC}">
                <c16:uniqueId val="{00000109-2993-41DE-A2CB-63102DE87051}"/>
              </c:ext>
            </c:extLst>
          </c:dPt>
          <c:dPt>
            <c:idx val="132"/>
            <c:invertIfNegative val="1"/>
            <c:bubble3D val="0"/>
            <c:spPr>
              <a:solidFill>
                <a:srgbClr val="7ECAC4"/>
              </a:solidFill>
            </c:spPr>
            <c:extLst>
              <c:ext xmlns:c16="http://schemas.microsoft.com/office/drawing/2014/chart" uri="{C3380CC4-5D6E-409C-BE32-E72D297353CC}">
                <c16:uniqueId val="{0000010B-2993-41DE-A2CB-63102DE87051}"/>
              </c:ext>
            </c:extLst>
          </c:dPt>
          <c:dPt>
            <c:idx val="133"/>
            <c:invertIfNegative val="1"/>
            <c:bubble3D val="0"/>
            <c:spPr>
              <a:solidFill>
                <a:srgbClr val="7ECAC4"/>
              </a:solidFill>
            </c:spPr>
            <c:extLst>
              <c:ext xmlns:c16="http://schemas.microsoft.com/office/drawing/2014/chart" uri="{C3380CC4-5D6E-409C-BE32-E72D297353CC}">
                <c16:uniqueId val="{0000010D-2993-41DE-A2CB-63102DE87051}"/>
              </c:ext>
            </c:extLst>
          </c:dPt>
          <c:dPt>
            <c:idx val="134"/>
            <c:invertIfNegative val="1"/>
            <c:bubble3D val="0"/>
            <c:spPr>
              <a:solidFill>
                <a:srgbClr val="7ECAC4"/>
              </a:solidFill>
            </c:spPr>
            <c:extLst>
              <c:ext xmlns:c16="http://schemas.microsoft.com/office/drawing/2014/chart" uri="{C3380CC4-5D6E-409C-BE32-E72D297353CC}">
                <c16:uniqueId val="{0000010F-2993-41DE-A2CB-63102DE87051}"/>
              </c:ext>
            </c:extLst>
          </c:dPt>
          <c:dPt>
            <c:idx val="135"/>
            <c:invertIfNegative val="1"/>
            <c:bubble3D val="0"/>
            <c:spPr>
              <a:solidFill>
                <a:srgbClr val="7ECAC4"/>
              </a:solidFill>
            </c:spPr>
            <c:extLst>
              <c:ext xmlns:c16="http://schemas.microsoft.com/office/drawing/2014/chart" uri="{C3380CC4-5D6E-409C-BE32-E72D297353CC}">
                <c16:uniqueId val="{00000111-2993-41DE-A2CB-63102DE87051}"/>
              </c:ext>
            </c:extLst>
          </c:dPt>
          <c:dPt>
            <c:idx val="136"/>
            <c:invertIfNegative val="1"/>
            <c:bubble3D val="0"/>
            <c:spPr>
              <a:solidFill>
                <a:srgbClr val="7ECAC4"/>
              </a:solidFill>
            </c:spPr>
            <c:extLst>
              <c:ext xmlns:c16="http://schemas.microsoft.com/office/drawing/2014/chart" uri="{C3380CC4-5D6E-409C-BE32-E72D297353CC}">
                <c16:uniqueId val="{00000113-2993-41DE-A2CB-63102DE87051}"/>
              </c:ext>
            </c:extLst>
          </c:dPt>
          <c:dPt>
            <c:idx val="137"/>
            <c:invertIfNegative val="1"/>
            <c:bubble3D val="0"/>
            <c:spPr>
              <a:solidFill>
                <a:srgbClr val="7ECAC4"/>
              </a:solidFill>
            </c:spPr>
            <c:extLst>
              <c:ext xmlns:c16="http://schemas.microsoft.com/office/drawing/2014/chart" uri="{C3380CC4-5D6E-409C-BE32-E72D297353CC}">
                <c16:uniqueId val="{00000115-2993-41DE-A2CB-63102DE87051}"/>
              </c:ext>
            </c:extLst>
          </c:dPt>
          <c:dPt>
            <c:idx val="138"/>
            <c:invertIfNegative val="1"/>
            <c:bubble3D val="0"/>
            <c:spPr>
              <a:solidFill>
                <a:srgbClr val="7ECAC4"/>
              </a:solidFill>
            </c:spPr>
            <c:extLst>
              <c:ext xmlns:c16="http://schemas.microsoft.com/office/drawing/2014/chart" uri="{C3380CC4-5D6E-409C-BE32-E72D297353CC}">
                <c16:uniqueId val="{00000117-2993-41DE-A2CB-63102DE87051}"/>
              </c:ext>
            </c:extLst>
          </c:dPt>
          <c:dPt>
            <c:idx val="139"/>
            <c:invertIfNegative val="1"/>
            <c:bubble3D val="0"/>
            <c:spPr>
              <a:solidFill>
                <a:srgbClr val="7ECAC4"/>
              </a:solidFill>
            </c:spPr>
            <c:extLst>
              <c:ext xmlns:c16="http://schemas.microsoft.com/office/drawing/2014/chart" uri="{C3380CC4-5D6E-409C-BE32-E72D297353CC}">
                <c16:uniqueId val="{00000119-2993-41DE-A2CB-63102DE87051}"/>
              </c:ext>
            </c:extLst>
          </c:dPt>
          <c:dPt>
            <c:idx val="140"/>
            <c:invertIfNegative val="1"/>
            <c:bubble3D val="0"/>
            <c:spPr>
              <a:solidFill>
                <a:srgbClr val="7ECAC4"/>
              </a:solidFill>
            </c:spPr>
            <c:extLst>
              <c:ext xmlns:c16="http://schemas.microsoft.com/office/drawing/2014/chart" uri="{C3380CC4-5D6E-409C-BE32-E72D297353CC}">
                <c16:uniqueId val="{0000011B-2993-41DE-A2CB-63102DE87051}"/>
              </c:ext>
            </c:extLst>
          </c:dPt>
          <c:dPt>
            <c:idx val="141"/>
            <c:invertIfNegative val="1"/>
            <c:bubble3D val="0"/>
            <c:spPr>
              <a:solidFill>
                <a:srgbClr val="7ECAC4"/>
              </a:solidFill>
            </c:spPr>
            <c:extLst>
              <c:ext xmlns:c16="http://schemas.microsoft.com/office/drawing/2014/chart" uri="{C3380CC4-5D6E-409C-BE32-E72D297353CC}">
                <c16:uniqueId val="{0000011D-2993-41DE-A2CB-63102DE87051}"/>
              </c:ext>
            </c:extLst>
          </c:dPt>
          <c:dPt>
            <c:idx val="142"/>
            <c:invertIfNegative val="1"/>
            <c:bubble3D val="0"/>
            <c:spPr>
              <a:solidFill>
                <a:srgbClr val="7ECAC4"/>
              </a:solidFill>
            </c:spPr>
            <c:extLst>
              <c:ext xmlns:c16="http://schemas.microsoft.com/office/drawing/2014/chart" uri="{C3380CC4-5D6E-409C-BE32-E72D297353CC}">
                <c16:uniqueId val="{0000011F-2993-41DE-A2CB-63102DE87051}"/>
              </c:ext>
            </c:extLst>
          </c:dPt>
          <c:dPt>
            <c:idx val="143"/>
            <c:invertIfNegative val="1"/>
            <c:bubble3D val="0"/>
            <c:spPr>
              <a:solidFill>
                <a:srgbClr val="7ECAC4"/>
              </a:solidFill>
            </c:spPr>
            <c:extLst>
              <c:ext xmlns:c16="http://schemas.microsoft.com/office/drawing/2014/chart" uri="{C3380CC4-5D6E-409C-BE32-E72D297353CC}">
                <c16:uniqueId val="{00000121-2993-41DE-A2CB-63102DE87051}"/>
              </c:ext>
            </c:extLst>
          </c:dPt>
          <c:dPt>
            <c:idx val="144"/>
            <c:invertIfNegative val="1"/>
            <c:bubble3D val="0"/>
            <c:spPr>
              <a:solidFill>
                <a:srgbClr val="7ECAC4"/>
              </a:solidFill>
            </c:spPr>
            <c:extLst>
              <c:ext xmlns:c16="http://schemas.microsoft.com/office/drawing/2014/chart" uri="{C3380CC4-5D6E-409C-BE32-E72D297353CC}">
                <c16:uniqueId val="{00000123-2993-41DE-A2CB-63102DE87051}"/>
              </c:ext>
            </c:extLst>
          </c:dPt>
          <c:dPt>
            <c:idx val="145"/>
            <c:invertIfNegative val="1"/>
            <c:bubble3D val="0"/>
            <c:spPr>
              <a:solidFill>
                <a:srgbClr val="7ECAC4"/>
              </a:solidFill>
            </c:spPr>
            <c:extLst>
              <c:ext xmlns:c16="http://schemas.microsoft.com/office/drawing/2014/chart" uri="{C3380CC4-5D6E-409C-BE32-E72D297353CC}">
                <c16:uniqueId val="{00000125-2993-41DE-A2CB-63102DE87051}"/>
              </c:ext>
            </c:extLst>
          </c:dPt>
          <c:dPt>
            <c:idx val="146"/>
            <c:invertIfNegative val="1"/>
            <c:bubble3D val="0"/>
            <c:spPr>
              <a:solidFill>
                <a:srgbClr val="7ECAC4"/>
              </a:solidFill>
            </c:spPr>
            <c:extLst>
              <c:ext xmlns:c16="http://schemas.microsoft.com/office/drawing/2014/chart" uri="{C3380CC4-5D6E-409C-BE32-E72D297353CC}">
                <c16:uniqueId val="{00000127-2993-41DE-A2CB-63102DE87051}"/>
              </c:ext>
            </c:extLst>
          </c:dPt>
          <c:dPt>
            <c:idx val="147"/>
            <c:invertIfNegative val="1"/>
            <c:bubble3D val="0"/>
            <c:spPr>
              <a:solidFill>
                <a:srgbClr val="7ECAC4"/>
              </a:solidFill>
            </c:spPr>
            <c:extLst>
              <c:ext xmlns:c16="http://schemas.microsoft.com/office/drawing/2014/chart" uri="{C3380CC4-5D6E-409C-BE32-E72D297353CC}">
                <c16:uniqueId val="{00000129-2993-41DE-A2CB-63102DE87051}"/>
              </c:ext>
            </c:extLst>
          </c:dPt>
          <c:dPt>
            <c:idx val="148"/>
            <c:invertIfNegative val="1"/>
            <c:bubble3D val="0"/>
            <c:spPr>
              <a:solidFill>
                <a:srgbClr val="7ECAC4"/>
              </a:solidFill>
            </c:spPr>
            <c:extLst>
              <c:ext xmlns:c16="http://schemas.microsoft.com/office/drawing/2014/chart" uri="{C3380CC4-5D6E-409C-BE32-E72D297353CC}">
                <c16:uniqueId val="{0000012B-2993-41DE-A2CB-63102DE87051}"/>
              </c:ext>
            </c:extLst>
          </c:dPt>
          <c:dPt>
            <c:idx val="149"/>
            <c:invertIfNegative val="1"/>
            <c:bubble3D val="0"/>
            <c:spPr>
              <a:solidFill>
                <a:srgbClr val="7ECAC4"/>
              </a:solidFill>
            </c:spPr>
            <c:extLst>
              <c:ext xmlns:c16="http://schemas.microsoft.com/office/drawing/2014/chart" uri="{C3380CC4-5D6E-409C-BE32-E72D297353CC}">
                <c16:uniqueId val="{0000012D-2993-41DE-A2CB-63102DE87051}"/>
              </c:ext>
            </c:extLst>
          </c:dPt>
          <c:dPt>
            <c:idx val="150"/>
            <c:invertIfNegative val="1"/>
            <c:bubble3D val="0"/>
            <c:spPr>
              <a:solidFill>
                <a:srgbClr val="7ECAC4"/>
              </a:solidFill>
            </c:spPr>
            <c:extLst>
              <c:ext xmlns:c16="http://schemas.microsoft.com/office/drawing/2014/chart" uri="{C3380CC4-5D6E-409C-BE32-E72D297353CC}">
                <c16:uniqueId val="{0000012F-2993-41DE-A2CB-63102DE87051}"/>
              </c:ext>
            </c:extLst>
          </c:dPt>
          <c:dPt>
            <c:idx val="151"/>
            <c:invertIfNegative val="1"/>
            <c:bubble3D val="0"/>
            <c:spPr>
              <a:solidFill>
                <a:srgbClr val="7ECAC4"/>
              </a:solidFill>
            </c:spPr>
            <c:extLst>
              <c:ext xmlns:c16="http://schemas.microsoft.com/office/drawing/2014/chart" uri="{C3380CC4-5D6E-409C-BE32-E72D297353CC}">
                <c16:uniqueId val="{00000131-2993-41DE-A2CB-63102DE87051}"/>
              </c:ext>
            </c:extLst>
          </c:dPt>
          <c:dPt>
            <c:idx val="152"/>
            <c:invertIfNegative val="1"/>
            <c:bubble3D val="0"/>
            <c:spPr>
              <a:solidFill>
                <a:srgbClr val="7ECAC4"/>
              </a:solidFill>
            </c:spPr>
            <c:extLst>
              <c:ext xmlns:c16="http://schemas.microsoft.com/office/drawing/2014/chart" uri="{C3380CC4-5D6E-409C-BE32-E72D297353CC}">
                <c16:uniqueId val="{00000133-2993-41DE-A2CB-63102DE87051}"/>
              </c:ext>
            </c:extLst>
          </c:dPt>
          <c:dPt>
            <c:idx val="153"/>
            <c:invertIfNegative val="1"/>
            <c:bubble3D val="0"/>
            <c:spPr>
              <a:solidFill>
                <a:srgbClr val="7ECAC4"/>
              </a:solidFill>
            </c:spPr>
            <c:extLst>
              <c:ext xmlns:c16="http://schemas.microsoft.com/office/drawing/2014/chart" uri="{C3380CC4-5D6E-409C-BE32-E72D297353CC}">
                <c16:uniqueId val="{00000135-2993-41DE-A2CB-63102DE87051}"/>
              </c:ext>
            </c:extLst>
          </c:dPt>
          <c:dPt>
            <c:idx val="154"/>
            <c:invertIfNegative val="1"/>
            <c:bubble3D val="0"/>
            <c:spPr>
              <a:solidFill>
                <a:srgbClr val="7ECAC4"/>
              </a:solidFill>
            </c:spPr>
            <c:extLst>
              <c:ext xmlns:c16="http://schemas.microsoft.com/office/drawing/2014/chart" uri="{C3380CC4-5D6E-409C-BE32-E72D297353CC}">
                <c16:uniqueId val="{00000137-2993-41DE-A2CB-63102DE87051}"/>
              </c:ext>
            </c:extLst>
          </c:dPt>
          <c:dPt>
            <c:idx val="155"/>
            <c:invertIfNegative val="1"/>
            <c:bubble3D val="0"/>
            <c:spPr>
              <a:solidFill>
                <a:srgbClr val="7ECAC4"/>
              </a:solidFill>
            </c:spPr>
            <c:extLst>
              <c:ext xmlns:c16="http://schemas.microsoft.com/office/drawing/2014/chart" uri="{C3380CC4-5D6E-409C-BE32-E72D297353CC}">
                <c16:uniqueId val="{00000139-2993-41DE-A2CB-63102DE87051}"/>
              </c:ext>
            </c:extLst>
          </c:dPt>
          <c:dPt>
            <c:idx val="156"/>
            <c:invertIfNegative val="1"/>
            <c:bubble3D val="0"/>
            <c:spPr>
              <a:solidFill>
                <a:srgbClr val="7ECAC4"/>
              </a:solidFill>
            </c:spPr>
            <c:extLst>
              <c:ext xmlns:c16="http://schemas.microsoft.com/office/drawing/2014/chart" uri="{C3380CC4-5D6E-409C-BE32-E72D297353CC}">
                <c16:uniqueId val="{0000013B-2993-41DE-A2CB-63102DE87051}"/>
              </c:ext>
            </c:extLst>
          </c:dPt>
          <c:dPt>
            <c:idx val="157"/>
            <c:invertIfNegative val="1"/>
            <c:bubble3D val="0"/>
            <c:spPr>
              <a:solidFill>
                <a:srgbClr val="7ECAC4"/>
              </a:solidFill>
            </c:spPr>
            <c:extLst>
              <c:ext xmlns:c16="http://schemas.microsoft.com/office/drawing/2014/chart" uri="{C3380CC4-5D6E-409C-BE32-E72D297353CC}">
                <c16:uniqueId val="{0000013D-2993-41DE-A2CB-63102DE87051}"/>
              </c:ext>
            </c:extLst>
          </c:dPt>
          <c:dPt>
            <c:idx val="158"/>
            <c:invertIfNegative val="1"/>
            <c:bubble3D val="0"/>
            <c:spPr>
              <a:solidFill>
                <a:srgbClr val="7ECAC4"/>
              </a:solidFill>
            </c:spPr>
            <c:extLst>
              <c:ext xmlns:c16="http://schemas.microsoft.com/office/drawing/2014/chart" uri="{C3380CC4-5D6E-409C-BE32-E72D297353CC}">
                <c16:uniqueId val="{0000013F-2993-41DE-A2CB-63102DE87051}"/>
              </c:ext>
            </c:extLst>
          </c:dPt>
          <c:dPt>
            <c:idx val="159"/>
            <c:invertIfNegative val="1"/>
            <c:bubble3D val="0"/>
            <c:spPr>
              <a:solidFill>
                <a:srgbClr val="7ECAC4"/>
              </a:solidFill>
            </c:spPr>
            <c:extLst>
              <c:ext xmlns:c16="http://schemas.microsoft.com/office/drawing/2014/chart" uri="{C3380CC4-5D6E-409C-BE32-E72D297353CC}">
                <c16:uniqueId val="{00000141-2993-41DE-A2CB-63102DE87051}"/>
              </c:ext>
            </c:extLst>
          </c:dPt>
          <c:dPt>
            <c:idx val="160"/>
            <c:invertIfNegative val="1"/>
            <c:bubble3D val="0"/>
            <c:spPr>
              <a:solidFill>
                <a:srgbClr val="7ECAC4"/>
              </a:solidFill>
            </c:spPr>
            <c:extLst>
              <c:ext xmlns:c16="http://schemas.microsoft.com/office/drawing/2014/chart" uri="{C3380CC4-5D6E-409C-BE32-E72D297353CC}">
                <c16:uniqueId val="{00000143-2993-41DE-A2CB-63102DE87051}"/>
              </c:ext>
            </c:extLst>
          </c:dPt>
          <c:dPt>
            <c:idx val="161"/>
            <c:invertIfNegative val="1"/>
            <c:bubble3D val="0"/>
            <c:spPr>
              <a:solidFill>
                <a:srgbClr val="7ECAC4"/>
              </a:solidFill>
            </c:spPr>
            <c:extLst>
              <c:ext xmlns:c16="http://schemas.microsoft.com/office/drawing/2014/chart" uri="{C3380CC4-5D6E-409C-BE32-E72D297353CC}">
                <c16:uniqueId val="{00000145-2993-41DE-A2CB-63102DE87051}"/>
              </c:ext>
            </c:extLst>
          </c:dPt>
          <c:dPt>
            <c:idx val="162"/>
            <c:invertIfNegative val="1"/>
            <c:bubble3D val="0"/>
            <c:spPr>
              <a:solidFill>
                <a:srgbClr val="7ECAC4"/>
              </a:solidFill>
            </c:spPr>
            <c:extLst>
              <c:ext xmlns:c16="http://schemas.microsoft.com/office/drawing/2014/chart" uri="{C3380CC4-5D6E-409C-BE32-E72D297353CC}">
                <c16:uniqueId val="{00000147-2993-41DE-A2CB-63102DE87051}"/>
              </c:ext>
            </c:extLst>
          </c:dPt>
          <c:dPt>
            <c:idx val="163"/>
            <c:invertIfNegative val="1"/>
            <c:bubble3D val="0"/>
            <c:spPr>
              <a:solidFill>
                <a:srgbClr val="7ECAC4"/>
              </a:solidFill>
            </c:spPr>
            <c:extLst>
              <c:ext xmlns:c16="http://schemas.microsoft.com/office/drawing/2014/chart" uri="{C3380CC4-5D6E-409C-BE32-E72D297353CC}">
                <c16:uniqueId val="{00000149-2993-41DE-A2CB-63102DE87051}"/>
              </c:ext>
            </c:extLst>
          </c:dPt>
          <c:dPt>
            <c:idx val="164"/>
            <c:invertIfNegative val="1"/>
            <c:bubble3D val="0"/>
            <c:spPr>
              <a:solidFill>
                <a:srgbClr val="7ECAC4"/>
              </a:solidFill>
            </c:spPr>
            <c:extLst>
              <c:ext xmlns:c16="http://schemas.microsoft.com/office/drawing/2014/chart" uri="{C3380CC4-5D6E-409C-BE32-E72D297353CC}">
                <c16:uniqueId val="{0000014B-2993-41DE-A2CB-63102DE87051}"/>
              </c:ext>
            </c:extLst>
          </c:dPt>
          <c:dPt>
            <c:idx val="165"/>
            <c:invertIfNegative val="1"/>
            <c:bubble3D val="0"/>
            <c:spPr>
              <a:solidFill>
                <a:srgbClr val="7ECAC4"/>
              </a:solidFill>
            </c:spPr>
            <c:extLst>
              <c:ext xmlns:c16="http://schemas.microsoft.com/office/drawing/2014/chart" uri="{C3380CC4-5D6E-409C-BE32-E72D297353CC}">
                <c16:uniqueId val="{0000014D-2993-41DE-A2CB-63102DE87051}"/>
              </c:ext>
            </c:extLst>
          </c:dPt>
          <c:dPt>
            <c:idx val="166"/>
            <c:invertIfNegative val="1"/>
            <c:bubble3D val="0"/>
            <c:spPr>
              <a:solidFill>
                <a:srgbClr val="7ECAC4"/>
              </a:solidFill>
            </c:spPr>
            <c:extLst>
              <c:ext xmlns:c16="http://schemas.microsoft.com/office/drawing/2014/chart" uri="{C3380CC4-5D6E-409C-BE32-E72D297353CC}">
                <c16:uniqueId val="{0000014F-2993-41DE-A2CB-63102DE87051}"/>
              </c:ext>
            </c:extLst>
          </c:dPt>
          <c:dPt>
            <c:idx val="167"/>
            <c:invertIfNegative val="1"/>
            <c:bubble3D val="0"/>
            <c:spPr>
              <a:solidFill>
                <a:srgbClr val="7ECAC4"/>
              </a:solidFill>
            </c:spPr>
            <c:extLst>
              <c:ext xmlns:c16="http://schemas.microsoft.com/office/drawing/2014/chart" uri="{C3380CC4-5D6E-409C-BE32-E72D297353CC}">
                <c16:uniqueId val="{00000151-2993-41DE-A2CB-63102DE87051}"/>
              </c:ext>
            </c:extLst>
          </c:dPt>
          <c:dPt>
            <c:idx val="168"/>
            <c:invertIfNegative val="1"/>
            <c:bubble3D val="0"/>
            <c:spPr>
              <a:solidFill>
                <a:srgbClr val="7ECAC4"/>
              </a:solidFill>
            </c:spPr>
            <c:extLst>
              <c:ext xmlns:c16="http://schemas.microsoft.com/office/drawing/2014/chart" uri="{C3380CC4-5D6E-409C-BE32-E72D297353CC}">
                <c16:uniqueId val="{00000153-2993-41DE-A2CB-63102DE87051}"/>
              </c:ext>
            </c:extLst>
          </c:dPt>
          <c:dPt>
            <c:idx val="169"/>
            <c:invertIfNegative val="1"/>
            <c:bubble3D val="0"/>
            <c:spPr>
              <a:solidFill>
                <a:srgbClr val="7ECAC4"/>
              </a:solidFill>
            </c:spPr>
            <c:extLst>
              <c:ext xmlns:c16="http://schemas.microsoft.com/office/drawing/2014/chart" uri="{C3380CC4-5D6E-409C-BE32-E72D297353CC}">
                <c16:uniqueId val="{00000155-2993-41DE-A2CB-63102DE87051}"/>
              </c:ext>
            </c:extLst>
          </c:dPt>
          <c:dPt>
            <c:idx val="170"/>
            <c:invertIfNegative val="1"/>
            <c:bubble3D val="0"/>
            <c:spPr>
              <a:solidFill>
                <a:srgbClr val="7ECAC4"/>
              </a:solidFill>
            </c:spPr>
            <c:extLst>
              <c:ext xmlns:c16="http://schemas.microsoft.com/office/drawing/2014/chart" uri="{C3380CC4-5D6E-409C-BE32-E72D297353CC}">
                <c16:uniqueId val="{00000157-2993-41DE-A2CB-63102DE87051}"/>
              </c:ext>
            </c:extLst>
          </c:dPt>
          <c:dPt>
            <c:idx val="171"/>
            <c:invertIfNegative val="1"/>
            <c:bubble3D val="0"/>
            <c:spPr>
              <a:solidFill>
                <a:srgbClr val="7ECAC4"/>
              </a:solidFill>
            </c:spPr>
            <c:extLst>
              <c:ext xmlns:c16="http://schemas.microsoft.com/office/drawing/2014/chart" uri="{C3380CC4-5D6E-409C-BE32-E72D297353CC}">
                <c16:uniqueId val="{00000159-2993-41DE-A2CB-63102DE87051}"/>
              </c:ext>
            </c:extLst>
          </c:dPt>
          <c:dPt>
            <c:idx val="172"/>
            <c:invertIfNegative val="1"/>
            <c:bubble3D val="0"/>
            <c:spPr>
              <a:solidFill>
                <a:srgbClr val="7ECAC4"/>
              </a:solidFill>
            </c:spPr>
            <c:extLst>
              <c:ext xmlns:c16="http://schemas.microsoft.com/office/drawing/2014/chart" uri="{C3380CC4-5D6E-409C-BE32-E72D297353CC}">
                <c16:uniqueId val="{0000015B-2993-41DE-A2CB-63102DE87051}"/>
              </c:ext>
            </c:extLst>
          </c:dPt>
          <c:dPt>
            <c:idx val="173"/>
            <c:invertIfNegative val="1"/>
            <c:bubble3D val="0"/>
            <c:spPr>
              <a:solidFill>
                <a:srgbClr val="AEABAB"/>
              </a:solidFill>
            </c:spPr>
            <c:extLst>
              <c:ext xmlns:c16="http://schemas.microsoft.com/office/drawing/2014/chart" uri="{C3380CC4-5D6E-409C-BE32-E72D297353CC}">
                <c16:uniqueId val="{0000015D-2993-41DE-A2CB-63102DE87051}"/>
              </c:ext>
            </c:extLst>
          </c:dPt>
          <c:dPt>
            <c:idx val="174"/>
            <c:invertIfNegative val="1"/>
            <c:bubble3D val="0"/>
            <c:spPr>
              <a:solidFill>
                <a:srgbClr val="AEABAB"/>
              </a:solidFill>
            </c:spPr>
            <c:extLst>
              <c:ext xmlns:c16="http://schemas.microsoft.com/office/drawing/2014/chart" uri="{C3380CC4-5D6E-409C-BE32-E72D297353CC}">
                <c16:uniqueId val="{0000015F-2993-41DE-A2CB-63102DE87051}"/>
              </c:ext>
            </c:extLst>
          </c:dPt>
          <c:dPt>
            <c:idx val="175"/>
            <c:invertIfNegative val="1"/>
            <c:bubble3D val="0"/>
            <c:spPr>
              <a:solidFill>
                <a:srgbClr val="AEABAB"/>
              </a:solidFill>
            </c:spPr>
            <c:extLst>
              <c:ext xmlns:c16="http://schemas.microsoft.com/office/drawing/2014/chart" uri="{C3380CC4-5D6E-409C-BE32-E72D297353CC}">
                <c16:uniqueId val="{00000161-2993-41DE-A2CB-63102DE87051}"/>
              </c:ext>
            </c:extLst>
          </c:dPt>
          <c:dPt>
            <c:idx val="176"/>
            <c:invertIfNegative val="1"/>
            <c:bubble3D val="0"/>
            <c:spPr>
              <a:solidFill>
                <a:srgbClr val="AEABAB"/>
              </a:solidFill>
            </c:spPr>
            <c:extLst>
              <c:ext xmlns:c16="http://schemas.microsoft.com/office/drawing/2014/chart" uri="{C3380CC4-5D6E-409C-BE32-E72D297353CC}">
                <c16:uniqueId val="{00000163-2993-41DE-A2CB-63102DE87051}"/>
              </c:ext>
            </c:extLst>
          </c:dPt>
          <c:dPt>
            <c:idx val="177"/>
            <c:invertIfNegative val="1"/>
            <c:bubble3D val="0"/>
            <c:spPr>
              <a:solidFill>
                <a:srgbClr val="AEABAB"/>
              </a:solidFill>
            </c:spPr>
            <c:extLst>
              <c:ext xmlns:c16="http://schemas.microsoft.com/office/drawing/2014/chart" uri="{C3380CC4-5D6E-409C-BE32-E72D297353CC}">
                <c16:uniqueId val="{00000165-2993-41DE-A2CB-63102DE87051}"/>
              </c:ext>
            </c:extLst>
          </c:dPt>
          <c:dPt>
            <c:idx val="178"/>
            <c:invertIfNegative val="1"/>
            <c:bubble3D val="0"/>
            <c:spPr>
              <a:solidFill>
                <a:srgbClr val="AEABAB"/>
              </a:solidFill>
            </c:spPr>
            <c:extLst>
              <c:ext xmlns:c16="http://schemas.microsoft.com/office/drawing/2014/chart" uri="{C3380CC4-5D6E-409C-BE32-E72D297353CC}">
                <c16:uniqueId val="{00000167-2993-41DE-A2CB-63102DE87051}"/>
              </c:ext>
            </c:extLst>
          </c:dPt>
          <c:dPt>
            <c:idx val="179"/>
            <c:invertIfNegative val="1"/>
            <c:bubble3D val="0"/>
            <c:spPr>
              <a:solidFill>
                <a:srgbClr val="AEABAB"/>
              </a:solidFill>
            </c:spPr>
            <c:extLst>
              <c:ext xmlns:c16="http://schemas.microsoft.com/office/drawing/2014/chart" uri="{C3380CC4-5D6E-409C-BE32-E72D297353CC}">
                <c16:uniqueId val="{00000169-2993-41DE-A2CB-63102DE87051}"/>
              </c:ext>
            </c:extLst>
          </c:dPt>
          <c:dPt>
            <c:idx val="180"/>
            <c:invertIfNegative val="1"/>
            <c:bubble3D val="0"/>
            <c:spPr>
              <a:solidFill>
                <a:srgbClr val="AEABAB"/>
              </a:solidFill>
            </c:spPr>
            <c:extLst>
              <c:ext xmlns:c16="http://schemas.microsoft.com/office/drawing/2014/chart" uri="{C3380CC4-5D6E-409C-BE32-E72D297353CC}">
                <c16:uniqueId val="{0000016B-2993-41DE-A2CB-63102DE87051}"/>
              </c:ext>
            </c:extLst>
          </c:dPt>
          <c:dPt>
            <c:idx val="181"/>
            <c:invertIfNegative val="1"/>
            <c:bubble3D val="0"/>
            <c:spPr>
              <a:solidFill>
                <a:srgbClr val="AEABAB"/>
              </a:solidFill>
            </c:spPr>
            <c:extLst>
              <c:ext xmlns:c16="http://schemas.microsoft.com/office/drawing/2014/chart" uri="{C3380CC4-5D6E-409C-BE32-E72D297353CC}">
                <c16:uniqueId val="{0000016D-2993-41DE-A2CB-63102DE87051}"/>
              </c:ext>
            </c:extLst>
          </c:dPt>
          <c:dPt>
            <c:idx val="182"/>
            <c:invertIfNegative val="1"/>
            <c:bubble3D val="0"/>
            <c:spPr>
              <a:solidFill>
                <a:srgbClr val="AEABAB"/>
              </a:solidFill>
            </c:spPr>
            <c:extLst>
              <c:ext xmlns:c16="http://schemas.microsoft.com/office/drawing/2014/chart" uri="{C3380CC4-5D6E-409C-BE32-E72D297353CC}">
                <c16:uniqueId val="{0000016F-2993-41DE-A2CB-63102DE87051}"/>
              </c:ext>
            </c:extLst>
          </c:dPt>
          <c:dPt>
            <c:idx val="183"/>
            <c:invertIfNegative val="1"/>
            <c:bubble3D val="0"/>
            <c:spPr>
              <a:solidFill>
                <a:srgbClr val="AEABAB"/>
              </a:solidFill>
            </c:spPr>
            <c:extLst>
              <c:ext xmlns:c16="http://schemas.microsoft.com/office/drawing/2014/chart" uri="{C3380CC4-5D6E-409C-BE32-E72D297353CC}">
                <c16:uniqueId val="{00000171-2993-41DE-A2CB-63102DE87051}"/>
              </c:ext>
            </c:extLst>
          </c:dPt>
          <c:dPt>
            <c:idx val="184"/>
            <c:invertIfNegative val="1"/>
            <c:bubble3D val="0"/>
            <c:spPr>
              <a:solidFill>
                <a:srgbClr val="AEABAB"/>
              </a:solidFill>
            </c:spPr>
            <c:extLst>
              <c:ext xmlns:c16="http://schemas.microsoft.com/office/drawing/2014/chart" uri="{C3380CC4-5D6E-409C-BE32-E72D297353CC}">
                <c16:uniqueId val="{00000173-2993-41DE-A2CB-63102DE87051}"/>
              </c:ext>
            </c:extLst>
          </c:dPt>
          <c:dPt>
            <c:idx val="185"/>
            <c:invertIfNegative val="1"/>
            <c:bubble3D val="0"/>
            <c:spPr>
              <a:solidFill>
                <a:srgbClr val="AEABAB"/>
              </a:solidFill>
            </c:spPr>
            <c:extLst>
              <c:ext xmlns:c16="http://schemas.microsoft.com/office/drawing/2014/chart" uri="{C3380CC4-5D6E-409C-BE32-E72D297353CC}">
                <c16:uniqueId val="{00000175-2993-41DE-A2CB-63102DE87051}"/>
              </c:ext>
            </c:extLst>
          </c:dPt>
          <c:dPt>
            <c:idx val="186"/>
            <c:invertIfNegative val="1"/>
            <c:bubble3D val="0"/>
            <c:spPr>
              <a:solidFill>
                <a:srgbClr val="AEABAB"/>
              </a:solidFill>
            </c:spPr>
            <c:extLst>
              <c:ext xmlns:c16="http://schemas.microsoft.com/office/drawing/2014/chart" uri="{C3380CC4-5D6E-409C-BE32-E72D297353CC}">
                <c16:uniqueId val="{00000177-2993-41DE-A2CB-63102DE87051}"/>
              </c:ext>
            </c:extLst>
          </c:dPt>
          <c:dPt>
            <c:idx val="187"/>
            <c:invertIfNegative val="1"/>
            <c:bubble3D val="0"/>
            <c:spPr>
              <a:solidFill>
                <a:srgbClr val="AEABAB"/>
              </a:solidFill>
            </c:spPr>
            <c:extLst>
              <c:ext xmlns:c16="http://schemas.microsoft.com/office/drawing/2014/chart" uri="{C3380CC4-5D6E-409C-BE32-E72D297353CC}">
                <c16:uniqueId val="{00000179-2993-41DE-A2CB-63102DE87051}"/>
              </c:ext>
            </c:extLst>
          </c:dPt>
          <c:dPt>
            <c:idx val="188"/>
            <c:invertIfNegative val="1"/>
            <c:bubble3D val="0"/>
            <c:spPr>
              <a:solidFill>
                <a:srgbClr val="AEABAB"/>
              </a:solidFill>
            </c:spPr>
            <c:extLst>
              <c:ext xmlns:c16="http://schemas.microsoft.com/office/drawing/2014/chart" uri="{C3380CC4-5D6E-409C-BE32-E72D297353CC}">
                <c16:uniqueId val="{0000017B-2993-41DE-A2CB-63102DE87051}"/>
              </c:ext>
            </c:extLst>
          </c:dPt>
          <c:dPt>
            <c:idx val="189"/>
            <c:invertIfNegative val="1"/>
            <c:bubble3D val="0"/>
            <c:spPr>
              <a:solidFill>
                <a:srgbClr val="AEABAB"/>
              </a:solidFill>
            </c:spPr>
            <c:extLst>
              <c:ext xmlns:c16="http://schemas.microsoft.com/office/drawing/2014/chart" uri="{C3380CC4-5D6E-409C-BE32-E72D297353CC}">
                <c16:uniqueId val="{0000017D-2993-41DE-A2CB-63102DE87051}"/>
              </c:ext>
            </c:extLst>
          </c:dPt>
          <c:dPt>
            <c:idx val="190"/>
            <c:invertIfNegative val="1"/>
            <c:bubble3D val="0"/>
            <c:spPr>
              <a:solidFill>
                <a:srgbClr val="AEABAB"/>
              </a:solidFill>
            </c:spPr>
            <c:extLst>
              <c:ext xmlns:c16="http://schemas.microsoft.com/office/drawing/2014/chart" uri="{C3380CC4-5D6E-409C-BE32-E72D297353CC}">
                <c16:uniqueId val="{0000017F-2993-41DE-A2CB-63102DE87051}"/>
              </c:ext>
            </c:extLst>
          </c:dPt>
          <c:dPt>
            <c:idx val="191"/>
            <c:invertIfNegative val="1"/>
            <c:bubble3D val="0"/>
            <c:spPr>
              <a:solidFill>
                <a:srgbClr val="AEABAB"/>
              </a:solidFill>
            </c:spPr>
            <c:extLst>
              <c:ext xmlns:c16="http://schemas.microsoft.com/office/drawing/2014/chart" uri="{C3380CC4-5D6E-409C-BE32-E72D297353CC}">
                <c16:uniqueId val="{00000181-2993-41DE-A2CB-63102DE87051}"/>
              </c:ext>
            </c:extLst>
          </c:dPt>
          <c:dPt>
            <c:idx val="192"/>
            <c:invertIfNegative val="1"/>
            <c:bubble3D val="0"/>
            <c:spPr>
              <a:solidFill>
                <a:srgbClr val="AEABAB"/>
              </a:solidFill>
            </c:spPr>
            <c:extLst>
              <c:ext xmlns:c16="http://schemas.microsoft.com/office/drawing/2014/chart" uri="{C3380CC4-5D6E-409C-BE32-E72D297353CC}">
                <c16:uniqueId val="{00000183-2993-41DE-A2CB-63102DE87051}"/>
              </c:ext>
            </c:extLst>
          </c:dPt>
          <c:dPt>
            <c:idx val="193"/>
            <c:invertIfNegative val="1"/>
            <c:bubble3D val="0"/>
            <c:spPr>
              <a:solidFill>
                <a:srgbClr val="AEABAB"/>
              </a:solidFill>
            </c:spPr>
            <c:extLst>
              <c:ext xmlns:c16="http://schemas.microsoft.com/office/drawing/2014/chart" uri="{C3380CC4-5D6E-409C-BE32-E72D297353CC}">
                <c16:uniqueId val="{00000185-2993-41DE-A2CB-63102DE87051}"/>
              </c:ext>
            </c:extLst>
          </c:dPt>
          <c:dPt>
            <c:idx val="194"/>
            <c:invertIfNegative val="1"/>
            <c:bubble3D val="0"/>
            <c:spPr>
              <a:solidFill>
                <a:srgbClr val="AEABAB"/>
              </a:solidFill>
            </c:spPr>
            <c:extLst>
              <c:ext xmlns:c16="http://schemas.microsoft.com/office/drawing/2014/chart" uri="{C3380CC4-5D6E-409C-BE32-E72D297353CC}">
                <c16:uniqueId val="{00000187-2993-41DE-A2CB-63102DE87051}"/>
              </c:ext>
            </c:extLst>
          </c:dPt>
          <c:dPt>
            <c:idx val="195"/>
            <c:invertIfNegative val="1"/>
            <c:bubble3D val="0"/>
            <c:spPr>
              <a:solidFill>
                <a:srgbClr val="AEABAB"/>
              </a:solidFill>
            </c:spPr>
            <c:extLst>
              <c:ext xmlns:c16="http://schemas.microsoft.com/office/drawing/2014/chart" uri="{C3380CC4-5D6E-409C-BE32-E72D297353CC}">
                <c16:uniqueId val="{00000189-2993-41DE-A2CB-63102DE87051}"/>
              </c:ext>
            </c:extLst>
          </c:dPt>
          <c:dPt>
            <c:idx val="196"/>
            <c:invertIfNegative val="1"/>
            <c:bubble3D val="0"/>
            <c:spPr>
              <a:solidFill>
                <a:srgbClr val="AEABAB"/>
              </a:solidFill>
            </c:spPr>
            <c:extLst>
              <c:ext xmlns:c16="http://schemas.microsoft.com/office/drawing/2014/chart" uri="{C3380CC4-5D6E-409C-BE32-E72D297353CC}">
                <c16:uniqueId val="{0000018B-2993-41DE-A2CB-63102DE87051}"/>
              </c:ext>
            </c:extLst>
          </c:dPt>
          <c:dPt>
            <c:idx val="197"/>
            <c:invertIfNegative val="1"/>
            <c:bubble3D val="0"/>
            <c:spPr>
              <a:solidFill>
                <a:srgbClr val="AEABAB"/>
              </a:solidFill>
            </c:spPr>
            <c:extLst>
              <c:ext xmlns:c16="http://schemas.microsoft.com/office/drawing/2014/chart" uri="{C3380CC4-5D6E-409C-BE32-E72D297353CC}">
                <c16:uniqueId val="{0000018D-2993-41DE-A2CB-63102DE87051}"/>
              </c:ext>
            </c:extLst>
          </c:dPt>
          <c:dPt>
            <c:idx val="198"/>
            <c:invertIfNegative val="1"/>
            <c:bubble3D val="0"/>
            <c:spPr>
              <a:solidFill>
                <a:srgbClr val="AEABAB"/>
              </a:solidFill>
            </c:spPr>
            <c:extLst>
              <c:ext xmlns:c16="http://schemas.microsoft.com/office/drawing/2014/chart" uri="{C3380CC4-5D6E-409C-BE32-E72D297353CC}">
                <c16:uniqueId val="{0000018F-2993-41DE-A2CB-63102DE87051}"/>
              </c:ext>
            </c:extLst>
          </c:dPt>
          <c:dPt>
            <c:idx val="199"/>
            <c:invertIfNegative val="1"/>
            <c:bubble3D val="0"/>
            <c:spPr>
              <a:solidFill>
                <a:srgbClr val="AEABAB"/>
              </a:solidFill>
            </c:spPr>
            <c:extLst>
              <c:ext xmlns:c16="http://schemas.microsoft.com/office/drawing/2014/chart" uri="{C3380CC4-5D6E-409C-BE32-E72D297353CC}">
                <c16:uniqueId val="{00000191-2993-41DE-A2CB-63102DE87051}"/>
              </c:ext>
            </c:extLst>
          </c:dPt>
          <c:dPt>
            <c:idx val="200"/>
            <c:invertIfNegative val="1"/>
            <c:bubble3D val="0"/>
            <c:spPr>
              <a:solidFill>
                <a:srgbClr val="AEABAB"/>
              </a:solidFill>
            </c:spPr>
            <c:extLst>
              <c:ext xmlns:c16="http://schemas.microsoft.com/office/drawing/2014/chart" uri="{C3380CC4-5D6E-409C-BE32-E72D297353CC}">
                <c16:uniqueId val="{00000193-2993-41DE-A2CB-63102DE87051}"/>
              </c:ext>
            </c:extLst>
          </c:dPt>
          <c:dPt>
            <c:idx val="201"/>
            <c:invertIfNegative val="1"/>
            <c:bubble3D val="0"/>
            <c:spPr>
              <a:solidFill>
                <a:srgbClr val="AEABAB"/>
              </a:solidFill>
            </c:spPr>
            <c:extLst>
              <c:ext xmlns:c16="http://schemas.microsoft.com/office/drawing/2014/chart" uri="{C3380CC4-5D6E-409C-BE32-E72D297353CC}">
                <c16:uniqueId val="{00000195-2993-41DE-A2CB-63102DE87051}"/>
              </c:ext>
            </c:extLst>
          </c:dPt>
          <c:dPt>
            <c:idx val="202"/>
            <c:invertIfNegative val="1"/>
            <c:bubble3D val="0"/>
            <c:spPr>
              <a:solidFill>
                <a:srgbClr val="AEABAB"/>
              </a:solidFill>
            </c:spPr>
            <c:extLst>
              <c:ext xmlns:c16="http://schemas.microsoft.com/office/drawing/2014/chart" uri="{C3380CC4-5D6E-409C-BE32-E72D297353CC}">
                <c16:uniqueId val="{00000197-2993-41DE-A2CB-63102DE87051}"/>
              </c:ext>
            </c:extLst>
          </c:dPt>
          <c:dPt>
            <c:idx val="203"/>
            <c:invertIfNegative val="1"/>
            <c:bubble3D val="0"/>
            <c:spPr>
              <a:solidFill>
                <a:srgbClr val="AEABAB"/>
              </a:solidFill>
            </c:spPr>
            <c:extLst>
              <c:ext xmlns:c16="http://schemas.microsoft.com/office/drawing/2014/chart" uri="{C3380CC4-5D6E-409C-BE32-E72D297353CC}">
                <c16:uniqueId val="{00000199-2993-41DE-A2CB-63102DE87051}"/>
              </c:ext>
            </c:extLst>
          </c:dPt>
          <c:dPt>
            <c:idx val="204"/>
            <c:invertIfNegative val="1"/>
            <c:bubble3D val="0"/>
            <c:spPr>
              <a:solidFill>
                <a:srgbClr val="AEABAB"/>
              </a:solidFill>
            </c:spPr>
            <c:extLst>
              <c:ext xmlns:c16="http://schemas.microsoft.com/office/drawing/2014/chart" uri="{C3380CC4-5D6E-409C-BE32-E72D297353CC}">
                <c16:uniqueId val="{0000019B-2993-41DE-A2CB-63102DE87051}"/>
              </c:ext>
            </c:extLst>
          </c:dPt>
          <c:dPt>
            <c:idx val="205"/>
            <c:invertIfNegative val="1"/>
            <c:bubble3D val="0"/>
            <c:spPr>
              <a:solidFill>
                <a:srgbClr val="AEABAB"/>
              </a:solidFill>
            </c:spPr>
            <c:extLst>
              <c:ext xmlns:c16="http://schemas.microsoft.com/office/drawing/2014/chart" uri="{C3380CC4-5D6E-409C-BE32-E72D297353CC}">
                <c16:uniqueId val="{0000019D-2993-41DE-A2CB-63102DE87051}"/>
              </c:ext>
            </c:extLst>
          </c:dPt>
          <c:dPt>
            <c:idx val="206"/>
            <c:invertIfNegative val="1"/>
            <c:bubble3D val="0"/>
            <c:spPr>
              <a:solidFill>
                <a:srgbClr val="AEABAB"/>
              </a:solidFill>
            </c:spPr>
            <c:extLst>
              <c:ext xmlns:c16="http://schemas.microsoft.com/office/drawing/2014/chart" uri="{C3380CC4-5D6E-409C-BE32-E72D297353CC}">
                <c16:uniqueId val="{0000019F-2993-41DE-A2CB-63102DE87051}"/>
              </c:ext>
            </c:extLst>
          </c:dPt>
          <c:dPt>
            <c:idx val="207"/>
            <c:invertIfNegative val="1"/>
            <c:bubble3D val="0"/>
            <c:spPr>
              <a:solidFill>
                <a:srgbClr val="AEABAB"/>
              </a:solidFill>
            </c:spPr>
            <c:extLst>
              <c:ext xmlns:c16="http://schemas.microsoft.com/office/drawing/2014/chart" uri="{C3380CC4-5D6E-409C-BE32-E72D297353CC}">
                <c16:uniqueId val="{000001A1-2993-41DE-A2CB-63102DE87051}"/>
              </c:ext>
            </c:extLst>
          </c:dPt>
          <c:dPt>
            <c:idx val="208"/>
            <c:invertIfNegative val="1"/>
            <c:bubble3D val="0"/>
            <c:spPr>
              <a:solidFill>
                <a:srgbClr val="AEABAB"/>
              </a:solidFill>
            </c:spPr>
            <c:extLst>
              <c:ext xmlns:c16="http://schemas.microsoft.com/office/drawing/2014/chart" uri="{C3380CC4-5D6E-409C-BE32-E72D297353CC}">
                <c16:uniqueId val="{000001A3-2993-41DE-A2CB-63102DE87051}"/>
              </c:ext>
            </c:extLst>
          </c:dPt>
          <c:dPt>
            <c:idx val="209"/>
            <c:invertIfNegative val="1"/>
            <c:bubble3D val="0"/>
            <c:spPr>
              <a:solidFill>
                <a:srgbClr val="AEABAB"/>
              </a:solidFill>
            </c:spPr>
            <c:extLst>
              <c:ext xmlns:c16="http://schemas.microsoft.com/office/drawing/2014/chart" uri="{C3380CC4-5D6E-409C-BE32-E72D297353CC}">
                <c16:uniqueId val="{000001A5-2993-41DE-A2CB-63102DE87051}"/>
              </c:ext>
            </c:extLst>
          </c:dPt>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C$2:$C$61</c:f>
              <c:numCache>
                <c:formatCode>General</c:formatCode>
                <c:ptCount val="60"/>
                <c:pt idx="0">
                  <c:v>1.582282540361421E-2</c:v>
                </c:pt>
                <c:pt idx="1">
                  <c:v>2.9070843452192501E-2</c:v>
                </c:pt>
                <c:pt idx="2">
                  <c:v>4.173005469327426E-2</c:v>
                </c:pt>
                <c:pt idx="3">
                  <c:v>5.2113239770823869E-2</c:v>
                </c:pt>
                <c:pt idx="4">
                  <c:v>6.2419311157673303E-2</c:v>
                </c:pt>
                <c:pt idx="5">
                  <c:v>7.1355107123906872E-2</c:v>
                </c:pt>
                <c:pt idx="6">
                  <c:v>7.9952606223222131E-2</c:v>
                </c:pt>
                <c:pt idx="7">
                  <c:v>8.8478428902074135E-2</c:v>
                </c:pt>
                <c:pt idx="8">
                  <c:v>9.7003113624766671E-2</c:v>
                </c:pt>
                <c:pt idx="9">
                  <c:v>0.10552779834745921</c:v>
                </c:pt>
                <c:pt idx="10">
                  <c:v>0.1140524830701517</c:v>
                </c:pt>
                <c:pt idx="11">
                  <c:v>0.1225771677928443</c:v>
                </c:pt>
                <c:pt idx="12">
                  <c:v>0.1311018525155368</c:v>
                </c:pt>
                <c:pt idx="13">
                  <c:v>0.1396265372382294</c:v>
                </c:pt>
                <c:pt idx="14">
                  <c:v>0.1481512219609219</c:v>
                </c:pt>
                <c:pt idx="15">
                  <c:v>0.1566759066836145</c:v>
                </c:pt>
                <c:pt idx="16">
                  <c:v>0.165200591406307</c:v>
                </c:pt>
                <c:pt idx="17">
                  <c:v>0.1737252761289996</c:v>
                </c:pt>
                <c:pt idx="18">
                  <c:v>0.18224996085169209</c:v>
                </c:pt>
                <c:pt idx="19">
                  <c:v>0.1907746455743847</c:v>
                </c:pt>
                <c:pt idx="20">
                  <c:v>0.19929933029707719</c:v>
                </c:pt>
                <c:pt idx="21">
                  <c:v>0.2078240150197698</c:v>
                </c:pt>
                <c:pt idx="22">
                  <c:v>0.21634869974246229</c:v>
                </c:pt>
                <c:pt idx="23">
                  <c:v>0.2248733844651549</c:v>
                </c:pt>
                <c:pt idx="24">
                  <c:v>0.23339806918784739</c:v>
                </c:pt>
                <c:pt idx="25">
                  <c:v>0.24192275391053999</c:v>
                </c:pt>
                <c:pt idx="26">
                  <c:v>0.25044743863323249</c:v>
                </c:pt>
                <c:pt idx="27">
                  <c:v>0.25897212335592501</c:v>
                </c:pt>
                <c:pt idx="28">
                  <c:v>0.26749680807861748</c:v>
                </c:pt>
                <c:pt idx="29">
                  <c:v>0.27602149280131011</c:v>
                </c:pt>
                <c:pt idx="30">
                  <c:v>0.28454617752400257</c:v>
                </c:pt>
                <c:pt idx="31">
                  <c:v>0.2930708622466951</c:v>
                </c:pt>
                <c:pt idx="32">
                  <c:v>0.30159554696938762</c:v>
                </c:pt>
                <c:pt idx="33">
                  <c:v>0.31008576289505008</c:v>
                </c:pt>
                <c:pt idx="34">
                  <c:v>0.31855998870070829</c:v>
                </c:pt>
                <c:pt idx="35">
                  <c:v>0.32700346719722628</c:v>
                </c:pt>
                <c:pt idx="36">
                  <c:v>0.33535697578411883</c:v>
                </c:pt>
                <c:pt idx="37">
                  <c:v>0.34365149528912181</c:v>
                </c:pt>
                <c:pt idx="38">
                  <c:v>0.35185358537480949</c:v>
                </c:pt>
                <c:pt idx="39">
                  <c:v>0.360023212981323</c:v>
                </c:pt>
                <c:pt idx="40">
                  <c:v>0.36814685075839482</c:v>
                </c:pt>
                <c:pt idx="41">
                  <c:v>0.37611422896655589</c:v>
                </c:pt>
                <c:pt idx="42">
                  <c:v>0.38406445377802889</c:v>
                </c:pt>
                <c:pt idx="43">
                  <c:v>0.39183626644673608</c:v>
                </c:pt>
                <c:pt idx="44">
                  <c:v>0.39953606533322328</c:v>
                </c:pt>
                <c:pt idx="45">
                  <c:v>0.40715275702464848</c:v>
                </c:pt>
                <c:pt idx="46">
                  <c:v>0.41474533250633189</c:v>
                </c:pt>
                <c:pt idx="47">
                  <c:v>0.42227709864184038</c:v>
                </c:pt>
                <c:pt idx="48">
                  <c:v>0.42961920513780127</c:v>
                </c:pt>
                <c:pt idx="49">
                  <c:v>0.43693557975901909</c:v>
                </c:pt>
                <c:pt idx="50">
                  <c:v>0.44403948369426538</c:v>
                </c:pt>
                <c:pt idx="51">
                  <c:v>0.45114338762951173</c:v>
                </c:pt>
                <c:pt idx="52">
                  <c:v>0.45824729156475802</c:v>
                </c:pt>
                <c:pt idx="53">
                  <c:v>0.46535119550000431</c:v>
                </c:pt>
                <c:pt idx="54">
                  <c:v>0.47245509943525049</c:v>
                </c:pt>
                <c:pt idx="55">
                  <c:v>0.47955900336851198</c:v>
                </c:pt>
                <c:pt idx="56">
                  <c:v>0.48660847284574738</c:v>
                </c:pt>
                <c:pt idx="57">
                  <c:v>0.49362838001292481</c:v>
                </c:pt>
                <c:pt idx="58">
                  <c:v>0.50059455268409037</c:v>
                </c:pt>
                <c:pt idx="59">
                  <c:v>0.50744292888376319</c:v>
                </c:pt>
              </c:numCache>
            </c:numRef>
          </c:val>
          <c:extLst>
            <c:ext xmlns:c16="http://schemas.microsoft.com/office/drawing/2014/chart" uri="{C3380CC4-5D6E-409C-BE32-E72D297353CC}">
              <c16:uniqueId val="{000000A7-C76F-4230-900D-40618C09729F}"/>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Product Sales Rate</c:v>
                </c:pt>
              </c:strCache>
            </c:strRef>
          </c:tx>
          <c:spPr>
            <a:ln w="28575" cap="rnd">
              <a:solidFill>
                <a:srgbClr val="C00000"/>
              </a:solidFill>
              <a:round/>
            </a:ln>
            <a:effectLst/>
          </c:spPr>
          <c:marker>
            <c:symbol val="none"/>
          </c:marker>
          <c:cat>
            <c:strRef>
              <c:f>Sheet1!$A$2:$A$61</c:f>
              <c:strCache>
                <c:ptCount val="60"/>
                <c:pt idx="0">
                  <c:v>Ultra</c:v>
                </c:pt>
                <c:pt idx="1">
                  <c:v>Greenfields</c:v>
                </c:pt>
                <c:pt idx="2">
                  <c:v>Ultra</c:v>
                </c:pt>
                <c:pt idx="3">
                  <c:v>Ultra</c:v>
                </c:pt>
                <c:pt idx="4">
                  <c:v>Ultra</c:v>
                </c:pt>
                <c:pt idx="5">
                  <c:v>Ultra</c:v>
                </c:pt>
                <c:pt idx="6">
                  <c:v>Greenfields</c:v>
                </c:pt>
                <c:pt idx="7">
                  <c:v>Frisian Flag</c:v>
                </c:pt>
                <c:pt idx="8">
                  <c:v>Ultra</c:v>
                </c:pt>
                <c:pt idx="9">
                  <c:v>Ultra</c:v>
                </c:pt>
                <c:pt idx="10">
                  <c:v>Frisian Flag</c:v>
                </c:pt>
                <c:pt idx="11">
                  <c:v>Real Good</c:v>
                </c:pt>
                <c:pt idx="12">
                  <c:v>Clevo</c:v>
                </c:pt>
                <c:pt idx="13">
                  <c:v>Real Good</c:v>
                </c:pt>
                <c:pt idx="14">
                  <c:v>Milkuat</c:v>
                </c:pt>
                <c:pt idx="15">
                  <c:v>Frisian Flag</c:v>
                </c:pt>
                <c:pt idx="16">
                  <c:v>Real Good</c:v>
                </c:pt>
                <c:pt idx="17">
                  <c:v>Cimory</c:v>
                </c:pt>
                <c:pt idx="18">
                  <c:v>Frisian Flag</c:v>
                </c:pt>
                <c:pt idx="19">
                  <c:v>Indomilk</c:v>
                </c:pt>
                <c:pt idx="20">
                  <c:v>Frisian Flag</c:v>
                </c:pt>
                <c:pt idx="21">
                  <c:v>Frisian Flag</c:v>
                </c:pt>
                <c:pt idx="22">
                  <c:v>Dancow</c:v>
                </c:pt>
                <c:pt idx="23">
                  <c:v>Cimory</c:v>
                </c:pt>
                <c:pt idx="24">
                  <c:v>Ultra</c:v>
                </c:pt>
                <c:pt idx="25">
                  <c:v>Milo</c:v>
                </c:pt>
                <c:pt idx="26">
                  <c:v>Other</c:v>
                </c:pt>
                <c:pt idx="27">
                  <c:v>Frisian Flag</c:v>
                </c:pt>
                <c:pt idx="28">
                  <c:v>Other</c:v>
                </c:pt>
                <c:pt idx="29">
                  <c:v>Ultra</c:v>
                </c:pt>
                <c:pt idx="30">
                  <c:v>Vidoran</c:v>
                </c:pt>
                <c:pt idx="31">
                  <c:v>Bear Brand</c:v>
                </c:pt>
                <c:pt idx="32">
                  <c:v>Greenfields</c:v>
                </c:pt>
                <c:pt idx="33">
                  <c:v>Indomilk</c:v>
                </c:pt>
                <c:pt idx="34">
                  <c:v>Milo</c:v>
                </c:pt>
                <c:pt idx="35">
                  <c:v>Cimory</c:v>
                </c:pt>
                <c:pt idx="36">
                  <c:v>Milkuat</c:v>
                </c:pt>
                <c:pt idx="37">
                  <c:v>Cimory</c:v>
                </c:pt>
                <c:pt idx="38">
                  <c:v>Hi Lo</c:v>
                </c:pt>
                <c:pt idx="39">
                  <c:v>Greenfields</c:v>
                </c:pt>
                <c:pt idx="40">
                  <c:v>Milk Life</c:v>
                </c:pt>
                <c:pt idx="41">
                  <c:v>Greenfields</c:v>
                </c:pt>
                <c:pt idx="42">
                  <c:v>Frisian Flag</c:v>
                </c:pt>
                <c:pt idx="43">
                  <c:v>Indomilk</c:v>
                </c:pt>
                <c:pt idx="44">
                  <c:v>Other</c:v>
                </c:pt>
                <c:pt idx="45">
                  <c:v>Tango</c:v>
                </c:pt>
                <c:pt idx="46">
                  <c:v>Greenfields</c:v>
                </c:pt>
                <c:pt idx="47">
                  <c:v>L-Men</c:v>
                </c:pt>
                <c:pt idx="48">
                  <c:v>Frisian Flag</c:v>
                </c:pt>
                <c:pt idx="49">
                  <c:v>Greenfields</c:v>
                </c:pt>
                <c:pt idx="50">
                  <c:v>Cimory</c:v>
                </c:pt>
                <c:pt idx="51">
                  <c:v>Bear Brand</c:v>
                </c:pt>
                <c:pt idx="52">
                  <c:v>Frisian Flag</c:v>
                </c:pt>
                <c:pt idx="53">
                  <c:v>Real Good</c:v>
                </c:pt>
                <c:pt idx="54">
                  <c:v>Cimory</c:v>
                </c:pt>
                <c:pt idx="55">
                  <c:v>Milo</c:v>
                </c:pt>
                <c:pt idx="56">
                  <c:v>Diamond</c:v>
                </c:pt>
                <c:pt idx="57">
                  <c:v>Vidoran</c:v>
                </c:pt>
                <c:pt idx="58">
                  <c:v>Other</c:v>
                </c:pt>
                <c:pt idx="59">
                  <c:v>Milk Life</c:v>
                </c:pt>
              </c:strCache>
            </c:strRef>
          </c:cat>
          <c:val>
            <c:numRef>
              <c:f>Sheet1!$D$2:$D$61</c:f>
              <c:numCache>
                <c:formatCode>General</c:formatCode>
                <c:ptCount val="60"/>
                <c:pt idx="0">
                  <c:v>683311.5809428572</c:v>
                </c:pt>
                <c:pt idx="1">
                  <c:v>667471.06878333329</c:v>
                </c:pt>
                <c:pt idx="2">
                  <c:v>571169.00183582096</c:v>
                </c:pt>
                <c:pt idx="3">
                  <c:v>435944.1802083333</c:v>
                </c:pt>
                <c:pt idx="4">
                  <c:v>472043.47221212118</c:v>
                </c:pt>
                <c:pt idx="5">
                  <c:v>403172.80164179101</c:v>
                </c:pt>
                <c:pt idx="6">
                  <c:v>448102.05012068967</c:v>
                </c:pt>
                <c:pt idx="7">
                  <c:v>444366.27177586209</c:v>
                </c:pt>
                <c:pt idx="8">
                  <c:v>396458.51944615378</c:v>
                </c:pt>
                <c:pt idx="9">
                  <c:v>548293.69710638293</c:v>
                </c:pt>
                <c:pt idx="10">
                  <c:v>390451.57218181819</c:v>
                </c:pt>
                <c:pt idx="11">
                  <c:v>1840700.2688571429</c:v>
                </c:pt>
                <c:pt idx="12">
                  <c:v>1982292.597230769</c:v>
                </c:pt>
                <c:pt idx="13">
                  <c:v>2147483.6469999999</c:v>
                </c:pt>
                <c:pt idx="14">
                  <c:v>2342709.4330909089</c:v>
                </c:pt>
                <c:pt idx="15">
                  <c:v>536870.91174999997</c:v>
                </c:pt>
                <c:pt idx="16">
                  <c:v>402653.18381249998</c:v>
                </c:pt>
                <c:pt idx="17">
                  <c:v>452101.82042105269</c:v>
                </c:pt>
                <c:pt idx="18">
                  <c:v>429496.72940000001</c:v>
                </c:pt>
                <c:pt idx="19">
                  <c:v>548293.69710638293</c:v>
                </c:pt>
                <c:pt idx="20">
                  <c:v>422455.79940983612</c:v>
                </c:pt>
                <c:pt idx="21">
                  <c:v>548293.69710638293</c:v>
                </c:pt>
                <c:pt idx="22">
                  <c:v>378967.70241176471</c:v>
                </c:pt>
                <c:pt idx="23">
                  <c:v>678152.73063157895</c:v>
                </c:pt>
                <c:pt idx="24">
                  <c:v>409044.5041904762</c:v>
                </c:pt>
                <c:pt idx="25">
                  <c:v>468541.88661818177</c:v>
                </c:pt>
                <c:pt idx="26">
                  <c:v>858993.45879999991</c:v>
                </c:pt>
                <c:pt idx="27">
                  <c:v>436776.33498305082</c:v>
                </c:pt>
                <c:pt idx="28">
                  <c:v>5153960.7527999999</c:v>
                </c:pt>
                <c:pt idx="29">
                  <c:v>585677.35827272723</c:v>
                </c:pt>
                <c:pt idx="30">
                  <c:v>460175.06721428572</c:v>
                </c:pt>
                <c:pt idx="31">
                  <c:v>402653.18381249998</c:v>
                </c:pt>
                <c:pt idx="32">
                  <c:v>429496.72940000001</c:v>
                </c:pt>
                <c:pt idx="33">
                  <c:v>401025.09182812501</c:v>
                </c:pt>
                <c:pt idx="34">
                  <c:v>419955.21870491811</c:v>
                </c:pt>
                <c:pt idx="35">
                  <c:v>729266.29637142865</c:v>
                </c:pt>
                <c:pt idx="36">
                  <c:v>3607477.813428571</c:v>
                </c:pt>
                <c:pt idx="37">
                  <c:v>716400.65431428573</c:v>
                </c:pt>
                <c:pt idx="38">
                  <c:v>420247.6646779661</c:v>
                </c:pt>
                <c:pt idx="39">
                  <c:v>411607.98921666661</c:v>
                </c:pt>
                <c:pt idx="40">
                  <c:v>402581.21008196718</c:v>
                </c:pt>
                <c:pt idx="41">
                  <c:v>617566.33256410249</c:v>
                </c:pt>
                <c:pt idx="42">
                  <c:v>572219.83076190471</c:v>
                </c:pt>
                <c:pt idx="43">
                  <c:v>559378.56292857148</c:v>
                </c:pt>
                <c:pt idx="44">
                  <c:v>750845.31183870975</c:v>
                </c:pt>
                <c:pt idx="45">
                  <c:v>426388.42070370371</c:v>
                </c:pt>
                <c:pt idx="46">
                  <c:v>389018.17484745762</c:v>
                </c:pt>
                <c:pt idx="47">
                  <c:v>413968.14421818178</c:v>
                </c:pt>
                <c:pt idx="48">
                  <c:v>516160.78883720929</c:v>
                </c:pt>
                <c:pt idx="49">
                  <c:v>368618.79038333328</c:v>
                </c:pt>
                <c:pt idx="50">
                  <c:v>363980.27913559321</c:v>
                </c:pt>
                <c:pt idx="51">
                  <c:v>335544.31982812501</c:v>
                </c:pt>
                <c:pt idx="52">
                  <c:v>320519.9472985075</c:v>
                </c:pt>
                <c:pt idx="53">
                  <c:v>325376.31013636361</c:v>
                </c:pt>
                <c:pt idx="54">
                  <c:v>363980.27913559321</c:v>
                </c:pt>
                <c:pt idx="55">
                  <c:v>325376.31004545459</c:v>
                </c:pt>
                <c:pt idx="56">
                  <c:v>1522163.081</c:v>
                </c:pt>
                <c:pt idx="57">
                  <c:v>624144.62864705885</c:v>
                </c:pt>
                <c:pt idx="58">
                  <c:v>2339831.1108888891</c:v>
                </c:pt>
                <c:pt idx="59">
                  <c:v>350887.89255932212</c:v>
                </c:pt>
              </c:numCache>
            </c:numRef>
          </c:val>
          <c:smooth val="0"/>
          <c:extLst>
            <c:ext xmlns:c16="http://schemas.microsoft.com/office/drawing/2014/chart" uri="{C3380CC4-5D6E-409C-BE32-E72D297353CC}">
              <c16:uniqueId val="{000000A8-C76F-4230-900D-40618C09729F}"/>
            </c:ext>
          </c:extLst>
        </c:ser>
        <c:dLbls>
          <c:showLegendKey val="0"/>
          <c:showVal val="0"/>
          <c:showCatName val="0"/>
          <c:showSerName val="0"/>
          <c:showPercent val="0"/>
          <c:showBubbleSize val="0"/>
        </c:dLbls>
        <c:marker val="1"/>
        <c:smooth val="0"/>
        <c:axId val="348019496"/>
        <c:axId val="348021456"/>
        <c:extLst/>
      </c:lineChart>
      <c:catAx>
        <c:axId val="3480257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0" vert="horz"/>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General"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57966376571482E-2"/>
          <c:y val="7.5765793046970384E-2"/>
          <c:w val="0.92363706105292032"/>
          <c:h val="0.45318444330767621"/>
        </c:manualLayout>
      </c:layout>
      <c:areaChart>
        <c:grouping val="standard"/>
        <c:varyColors val="0"/>
        <c:ser>
          <c:idx val="0"/>
          <c:order val="0"/>
          <c:tx>
            <c:strRef>
              <c:f>Sheet1!$B$1</c:f>
              <c:strCache>
                <c:ptCount val="1"/>
                <c:pt idx="0">
                  <c:v>WD</c:v>
                </c:pt>
              </c:strCache>
            </c:strRef>
          </c:tx>
          <c:spPr>
            <a:solidFill>
              <a:srgbClr val="575555">
                <a:alpha val="20000"/>
              </a:srgbClr>
            </a:solidFill>
            <a:ln w="9525">
              <a:solidFill>
                <a:srgbClr val="575555"/>
              </a:solidFill>
            </a:ln>
            <a:effectLst/>
          </c:spPr>
          <c:dPt>
            <c:idx val="0"/>
            <c:bubble3D val="0"/>
            <c:extLst>
              <c:ext xmlns:c16="http://schemas.microsoft.com/office/drawing/2014/chart" uri="{C3380CC4-5D6E-409C-BE32-E72D297353CC}">
                <c16:uniqueId val="{00000001-D8F4-40C6-A5E0-DB4B53CFB1F3}"/>
              </c:ext>
            </c:extLst>
          </c:dPt>
          <c:dPt>
            <c:idx val="1"/>
            <c:bubble3D val="0"/>
            <c:extLst>
              <c:ext xmlns:c16="http://schemas.microsoft.com/office/drawing/2014/chart" uri="{C3380CC4-5D6E-409C-BE32-E72D297353CC}">
                <c16:uniqueId val="{00000003-D8F4-40C6-A5E0-DB4B53CFB1F3}"/>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B$2:$B$45</c:f>
              <c:numCache>
                <c:formatCode>0%</c:formatCode>
                <c:ptCount val="44"/>
                <c:pt idx="0">
                  <c:v>0.97</c:v>
                </c:pt>
                <c:pt idx="1">
                  <c:v>0.96</c:v>
                </c:pt>
                <c:pt idx="2">
                  <c:v>0.93</c:v>
                </c:pt>
                <c:pt idx="3">
                  <c:v>0.78</c:v>
                </c:pt>
                <c:pt idx="4">
                  <c:v>0.85</c:v>
                </c:pt>
                <c:pt idx="5">
                  <c:v>0.73</c:v>
                </c:pt>
                <c:pt idx="6">
                  <c:v>0.87</c:v>
                </c:pt>
                <c:pt idx="7">
                  <c:v>0.89</c:v>
                </c:pt>
                <c:pt idx="8">
                  <c:v>0.99</c:v>
                </c:pt>
                <c:pt idx="9">
                  <c:v>0.68</c:v>
                </c:pt>
                <c:pt idx="10">
                  <c:v>0.79</c:v>
                </c:pt>
                <c:pt idx="11">
                  <c:v>0.98</c:v>
                </c:pt>
                <c:pt idx="12">
                  <c:v>0.71</c:v>
                </c:pt>
                <c:pt idx="13">
                  <c:v>0.64</c:v>
                </c:pt>
                <c:pt idx="14">
                  <c:v>0.82</c:v>
                </c:pt>
                <c:pt idx="15">
                  <c:v>0.77</c:v>
                </c:pt>
                <c:pt idx="16">
                  <c:v>0.98</c:v>
                </c:pt>
                <c:pt idx="17">
                  <c:v>0.95</c:v>
                </c:pt>
                <c:pt idx="18">
                  <c:v>0.81</c:v>
                </c:pt>
                <c:pt idx="19">
                  <c:v>0.97</c:v>
                </c:pt>
                <c:pt idx="20">
                  <c:v>0.56000000000000005</c:v>
                </c:pt>
                <c:pt idx="21">
                  <c:v>0.93</c:v>
                </c:pt>
                <c:pt idx="22">
                  <c:v>0.69</c:v>
                </c:pt>
                <c:pt idx="23">
                  <c:v>0.62</c:v>
                </c:pt>
                <c:pt idx="24">
                  <c:v>0.92</c:v>
                </c:pt>
                <c:pt idx="25">
                  <c:v>0.59</c:v>
                </c:pt>
                <c:pt idx="26">
                  <c:v>0.56999999999999995</c:v>
                </c:pt>
                <c:pt idx="27">
                  <c:v>0.67</c:v>
                </c:pt>
                <c:pt idx="28">
                  <c:v>0.7</c:v>
                </c:pt>
                <c:pt idx="29">
                  <c:v>0.52</c:v>
                </c:pt>
                <c:pt idx="30">
                  <c:v>0.5</c:v>
                </c:pt>
                <c:pt idx="31">
                  <c:v>0.51</c:v>
                </c:pt>
                <c:pt idx="32">
                  <c:v>0.68</c:v>
                </c:pt>
                <c:pt idx="33">
                  <c:v>0.71</c:v>
                </c:pt>
                <c:pt idx="34">
                  <c:v>0.62</c:v>
                </c:pt>
                <c:pt idx="35">
                  <c:v>0.38</c:v>
                </c:pt>
                <c:pt idx="36">
                  <c:v>0.59</c:v>
                </c:pt>
                <c:pt idx="37">
                  <c:v>0.65</c:v>
                </c:pt>
                <c:pt idx="38">
                  <c:v>0.6</c:v>
                </c:pt>
                <c:pt idx="39">
                  <c:v>0.52</c:v>
                </c:pt>
                <c:pt idx="40">
                  <c:v>0.55000000000000004</c:v>
                </c:pt>
                <c:pt idx="41">
                  <c:v>0.62</c:v>
                </c:pt>
                <c:pt idx="42">
                  <c:v>0.6</c:v>
                </c:pt>
                <c:pt idx="43">
                  <c:v>0.09</c:v>
                </c:pt>
              </c:numCache>
            </c:numRef>
          </c:val>
          <c:extLst>
            <c:ext xmlns:c16="http://schemas.microsoft.com/office/drawing/2014/chart" uri="{C3380CC4-5D6E-409C-BE32-E72D297353CC}">
              <c16:uniqueId val="{00000004-D8F4-40C6-A5E0-DB4B53CFB1F3}"/>
            </c:ext>
          </c:extLst>
        </c:ser>
        <c:dLbls>
          <c:showLegendKey val="0"/>
          <c:showVal val="0"/>
          <c:showCatName val="0"/>
          <c:showSerName val="0"/>
          <c:showPercent val="0"/>
          <c:showBubbleSize val="0"/>
        </c:dLbls>
        <c:axId val="348025768"/>
        <c:axId val="348023416"/>
      </c:areaChart>
      <c:barChart>
        <c:barDir val="col"/>
        <c:grouping val="clustered"/>
        <c:varyColors val="0"/>
        <c:ser>
          <c:idx val="1"/>
          <c:order val="1"/>
          <c:tx>
            <c:strRef>
              <c:f>Sheet1!$C$1</c:f>
              <c:strCache>
                <c:ptCount val="1"/>
                <c:pt idx="0">
                  <c:v>Cumulative Product share</c:v>
                </c:pt>
              </c:strCache>
            </c:strRef>
          </c:tx>
          <c:invertIfNegative val="0"/>
          <c:dPt>
            <c:idx val="0"/>
            <c:invertIfNegative val="0"/>
            <c:bubble3D val="0"/>
            <c:spPr>
              <a:solidFill>
                <a:srgbClr val="00A097"/>
              </a:solidFill>
            </c:spPr>
            <c:extLst>
              <c:ext xmlns:c16="http://schemas.microsoft.com/office/drawing/2014/chart" uri="{C3380CC4-5D6E-409C-BE32-E72D297353CC}">
                <c16:uniqueId val="{00000006-D8F4-40C6-A5E0-DB4B53CFB1F3}"/>
              </c:ext>
            </c:extLst>
          </c:dPt>
          <c:dPt>
            <c:idx val="1"/>
            <c:invertIfNegative val="0"/>
            <c:bubble3D val="0"/>
            <c:spPr>
              <a:solidFill>
                <a:srgbClr val="00A097"/>
              </a:solidFill>
            </c:spPr>
            <c:extLst>
              <c:ext xmlns:c16="http://schemas.microsoft.com/office/drawing/2014/chart" uri="{C3380CC4-5D6E-409C-BE32-E72D297353CC}">
                <c16:uniqueId val="{00000008-D8F4-40C6-A5E0-DB4B53CFB1F3}"/>
              </c:ext>
            </c:extLst>
          </c:dPt>
          <c:dPt>
            <c:idx val="2"/>
            <c:invertIfNegative val="0"/>
            <c:bubble3D val="0"/>
            <c:spPr>
              <a:solidFill>
                <a:srgbClr val="00A097"/>
              </a:solidFill>
            </c:spPr>
            <c:extLst>
              <c:ext xmlns:c16="http://schemas.microsoft.com/office/drawing/2014/chart" uri="{C3380CC4-5D6E-409C-BE32-E72D297353CC}">
                <c16:uniqueId val="{00000006-E902-46E2-9A54-39A26B3DFDC1}"/>
              </c:ext>
            </c:extLst>
          </c:dPt>
          <c:dPt>
            <c:idx val="3"/>
            <c:invertIfNegative val="0"/>
            <c:bubble3D val="0"/>
            <c:spPr>
              <a:solidFill>
                <a:srgbClr val="00A097"/>
              </a:solidFill>
            </c:spPr>
            <c:extLst>
              <c:ext xmlns:c16="http://schemas.microsoft.com/office/drawing/2014/chart" uri="{C3380CC4-5D6E-409C-BE32-E72D297353CC}">
                <c16:uniqueId val="{00000007-E902-46E2-9A54-39A26B3DFDC1}"/>
              </c:ext>
            </c:extLst>
          </c:dPt>
          <c:dPt>
            <c:idx val="4"/>
            <c:invertIfNegative val="1"/>
            <c:bubble3D val="0"/>
            <c:spPr>
              <a:solidFill>
                <a:srgbClr val="00A097"/>
              </a:solidFill>
            </c:spPr>
            <c:extLst>
              <c:ext xmlns:c16="http://schemas.microsoft.com/office/drawing/2014/chart" uri="{C3380CC4-5D6E-409C-BE32-E72D297353CC}">
                <c16:uniqueId val="{0000000B-FA3E-4872-B6E1-C4ABDF5766E2}"/>
              </c:ext>
            </c:extLst>
          </c:dPt>
          <c:dPt>
            <c:idx val="5"/>
            <c:invertIfNegative val="1"/>
            <c:bubble3D val="0"/>
            <c:spPr>
              <a:solidFill>
                <a:srgbClr val="00A097"/>
              </a:solidFill>
            </c:spPr>
            <c:extLst>
              <c:ext xmlns:c16="http://schemas.microsoft.com/office/drawing/2014/chart" uri="{C3380CC4-5D6E-409C-BE32-E72D297353CC}">
                <c16:uniqueId val="{0000000D-FA3E-4872-B6E1-C4ABDF5766E2}"/>
              </c:ext>
            </c:extLst>
          </c:dPt>
          <c:dPt>
            <c:idx val="6"/>
            <c:invertIfNegative val="1"/>
            <c:bubble3D val="0"/>
            <c:spPr>
              <a:solidFill>
                <a:srgbClr val="00A097"/>
              </a:solidFill>
            </c:spPr>
            <c:extLst>
              <c:ext xmlns:c16="http://schemas.microsoft.com/office/drawing/2014/chart" uri="{C3380CC4-5D6E-409C-BE32-E72D297353CC}">
                <c16:uniqueId val="{0000000F-FA3E-4872-B6E1-C4ABDF5766E2}"/>
              </c:ext>
            </c:extLst>
          </c:dPt>
          <c:dPt>
            <c:idx val="7"/>
            <c:invertIfNegative val="1"/>
            <c:bubble3D val="0"/>
            <c:spPr>
              <a:solidFill>
                <a:srgbClr val="00A097"/>
              </a:solidFill>
            </c:spPr>
            <c:extLst>
              <c:ext xmlns:c16="http://schemas.microsoft.com/office/drawing/2014/chart" uri="{C3380CC4-5D6E-409C-BE32-E72D297353CC}">
                <c16:uniqueId val="{00000011-FA3E-4872-B6E1-C4ABDF5766E2}"/>
              </c:ext>
            </c:extLst>
          </c:dPt>
          <c:dPt>
            <c:idx val="8"/>
            <c:invertIfNegative val="1"/>
            <c:bubble3D val="0"/>
            <c:spPr>
              <a:solidFill>
                <a:srgbClr val="00A097"/>
              </a:solidFill>
            </c:spPr>
            <c:extLst>
              <c:ext xmlns:c16="http://schemas.microsoft.com/office/drawing/2014/chart" uri="{C3380CC4-5D6E-409C-BE32-E72D297353CC}">
                <c16:uniqueId val="{00000013-FA3E-4872-B6E1-C4ABDF5766E2}"/>
              </c:ext>
            </c:extLst>
          </c:dPt>
          <c:dPt>
            <c:idx val="9"/>
            <c:invertIfNegative val="1"/>
            <c:bubble3D val="0"/>
            <c:spPr>
              <a:solidFill>
                <a:srgbClr val="00A097"/>
              </a:solidFill>
            </c:spPr>
            <c:extLst>
              <c:ext xmlns:c16="http://schemas.microsoft.com/office/drawing/2014/chart" uri="{C3380CC4-5D6E-409C-BE32-E72D297353CC}">
                <c16:uniqueId val="{00000015-FA3E-4872-B6E1-C4ABDF5766E2}"/>
              </c:ext>
            </c:extLst>
          </c:dPt>
          <c:dPt>
            <c:idx val="10"/>
            <c:invertIfNegative val="1"/>
            <c:bubble3D val="0"/>
            <c:spPr>
              <a:solidFill>
                <a:srgbClr val="00A097"/>
              </a:solidFill>
            </c:spPr>
            <c:extLst>
              <c:ext xmlns:c16="http://schemas.microsoft.com/office/drawing/2014/chart" uri="{C3380CC4-5D6E-409C-BE32-E72D297353CC}">
                <c16:uniqueId val="{00000017-FA3E-4872-B6E1-C4ABDF5766E2}"/>
              </c:ext>
            </c:extLst>
          </c:dPt>
          <c:dPt>
            <c:idx val="11"/>
            <c:invertIfNegative val="1"/>
            <c:bubble3D val="0"/>
            <c:spPr>
              <a:solidFill>
                <a:srgbClr val="00A097"/>
              </a:solidFill>
            </c:spPr>
            <c:extLst>
              <c:ext xmlns:c16="http://schemas.microsoft.com/office/drawing/2014/chart" uri="{C3380CC4-5D6E-409C-BE32-E72D297353CC}">
                <c16:uniqueId val="{00000019-FA3E-4872-B6E1-C4ABDF5766E2}"/>
              </c:ext>
            </c:extLst>
          </c:dPt>
          <c:dPt>
            <c:idx val="12"/>
            <c:invertIfNegative val="1"/>
            <c:bubble3D val="0"/>
            <c:spPr>
              <a:solidFill>
                <a:srgbClr val="00A097"/>
              </a:solidFill>
            </c:spPr>
            <c:extLst>
              <c:ext xmlns:c16="http://schemas.microsoft.com/office/drawing/2014/chart" uri="{C3380CC4-5D6E-409C-BE32-E72D297353CC}">
                <c16:uniqueId val="{0000001B-FA3E-4872-B6E1-C4ABDF5766E2}"/>
              </c:ext>
            </c:extLst>
          </c:dPt>
          <c:dPt>
            <c:idx val="13"/>
            <c:invertIfNegative val="1"/>
            <c:bubble3D val="0"/>
            <c:spPr>
              <a:solidFill>
                <a:srgbClr val="00A097"/>
              </a:solidFill>
            </c:spPr>
            <c:extLst>
              <c:ext xmlns:c16="http://schemas.microsoft.com/office/drawing/2014/chart" uri="{C3380CC4-5D6E-409C-BE32-E72D297353CC}">
                <c16:uniqueId val="{0000001D-FA3E-4872-B6E1-C4ABDF5766E2}"/>
              </c:ext>
            </c:extLst>
          </c:dPt>
          <c:dPt>
            <c:idx val="14"/>
            <c:invertIfNegative val="1"/>
            <c:bubble3D val="0"/>
            <c:spPr>
              <a:solidFill>
                <a:srgbClr val="00A097"/>
              </a:solidFill>
            </c:spPr>
            <c:extLst>
              <c:ext xmlns:c16="http://schemas.microsoft.com/office/drawing/2014/chart" uri="{C3380CC4-5D6E-409C-BE32-E72D297353CC}">
                <c16:uniqueId val="{0000001F-FA3E-4872-B6E1-C4ABDF5766E2}"/>
              </c:ext>
            </c:extLst>
          </c:dPt>
          <c:dPt>
            <c:idx val="15"/>
            <c:invertIfNegative val="1"/>
            <c:bubble3D val="0"/>
            <c:spPr>
              <a:solidFill>
                <a:srgbClr val="00A097"/>
              </a:solidFill>
            </c:spPr>
            <c:extLst>
              <c:ext xmlns:c16="http://schemas.microsoft.com/office/drawing/2014/chart" uri="{C3380CC4-5D6E-409C-BE32-E72D297353CC}">
                <c16:uniqueId val="{00000021-FA3E-4872-B6E1-C4ABDF5766E2}"/>
              </c:ext>
            </c:extLst>
          </c:dPt>
          <c:dPt>
            <c:idx val="16"/>
            <c:invertIfNegative val="1"/>
            <c:bubble3D val="0"/>
            <c:spPr>
              <a:solidFill>
                <a:srgbClr val="7ECAC4"/>
              </a:solidFill>
            </c:spPr>
            <c:extLst>
              <c:ext xmlns:c16="http://schemas.microsoft.com/office/drawing/2014/chart" uri="{C3380CC4-5D6E-409C-BE32-E72D297353CC}">
                <c16:uniqueId val="{00000023-FA3E-4872-B6E1-C4ABDF5766E2}"/>
              </c:ext>
            </c:extLst>
          </c:dPt>
          <c:dPt>
            <c:idx val="17"/>
            <c:invertIfNegative val="1"/>
            <c:bubble3D val="0"/>
            <c:spPr>
              <a:solidFill>
                <a:srgbClr val="7ECAC4"/>
              </a:solidFill>
            </c:spPr>
            <c:extLst>
              <c:ext xmlns:c16="http://schemas.microsoft.com/office/drawing/2014/chart" uri="{C3380CC4-5D6E-409C-BE32-E72D297353CC}">
                <c16:uniqueId val="{00000025-FA3E-4872-B6E1-C4ABDF5766E2}"/>
              </c:ext>
            </c:extLst>
          </c:dPt>
          <c:dPt>
            <c:idx val="18"/>
            <c:invertIfNegative val="1"/>
            <c:bubble3D val="0"/>
            <c:spPr>
              <a:solidFill>
                <a:srgbClr val="7ECAC4"/>
              </a:solidFill>
            </c:spPr>
            <c:extLst>
              <c:ext xmlns:c16="http://schemas.microsoft.com/office/drawing/2014/chart" uri="{C3380CC4-5D6E-409C-BE32-E72D297353CC}">
                <c16:uniqueId val="{00000027-FA3E-4872-B6E1-C4ABDF5766E2}"/>
              </c:ext>
            </c:extLst>
          </c:dPt>
          <c:dPt>
            <c:idx val="19"/>
            <c:invertIfNegative val="1"/>
            <c:bubble3D val="0"/>
            <c:spPr>
              <a:solidFill>
                <a:srgbClr val="7ECAC4"/>
              </a:solidFill>
            </c:spPr>
            <c:extLst>
              <c:ext xmlns:c16="http://schemas.microsoft.com/office/drawing/2014/chart" uri="{C3380CC4-5D6E-409C-BE32-E72D297353CC}">
                <c16:uniqueId val="{00000029-FA3E-4872-B6E1-C4ABDF5766E2}"/>
              </c:ext>
            </c:extLst>
          </c:dPt>
          <c:dPt>
            <c:idx val="20"/>
            <c:invertIfNegative val="1"/>
            <c:bubble3D val="0"/>
            <c:spPr>
              <a:solidFill>
                <a:srgbClr val="7ECAC4"/>
              </a:solidFill>
            </c:spPr>
            <c:extLst>
              <c:ext xmlns:c16="http://schemas.microsoft.com/office/drawing/2014/chart" uri="{C3380CC4-5D6E-409C-BE32-E72D297353CC}">
                <c16:uniqueId val="{0000002B-FA3E-4872-B6E1-C4ABDF5766E2}"/>
              </c:ext>
            </c:extLst>
          </c:dPt>
          <c:dPt>
            <c:idx val="21"/>
            <c:invertIfNegative val="1"/>
            <c:bubble3D val="0"/>
            <c:spPr>
              <a:solidFill>
                <a:srgbClr val="7ECAC4"/>
              </a:solidFill>
            </c:spPr>
            <c:extLst>
              <c:ext xmlns:c16="http://schemas.microsoft.com/office/drawing/2014/chart" uri="{C3380CC4-5D6E-409C-BE32-E72D297353CC}">
                <c16:uniqueId val="{0000002D-FA3E-4872-B6E1-C4ABDF5766E2}"/>
              </c:ext>
            </c:extLst>
          </c:dPt>
          <c:dPt>
            <c:idx val="22"/>
            <c:invertIfNegative val="1"/>
            <c:bubble3D val="0"/>
            <c:spPr>
              <a:solidFill>
                <a:srgbClr val="7ECAC4"/>
              </a:solidFill>
            </c:spPr>
            <c:extLst>
              <c:ext xmlns:c16="http://schemas.microsoft.com/office/drawing/2014/chart" uri="{C3380CC4-5D6E-409C-BE32-E72D297353CC}">
                <c16:uniqueId val="{0000002F-FA3E-4872-B6E1-C4ABDF5766E2}"/>
              </c:ext>
            </c:extLst>
          </c:dPt>
          <c:dPt>
            <c:idx val="23"/>
            <c:invertIfNegative val="1"/>
            <c:bubble3D val="0"/>
            <c:spPr>
              <a:solidFill>
                <a:srgbClr val="7ECAC4"/>
              </a:solidFill>
            </c:spPr>
            <c:extLst>
              <c:ext xmlns:c16="http://schemas.microsoft.com/office/drawing/2014/chart" uri="{C3380CC4-5D6E-409C-BE32-E72D297353CC}">
                <c16:uniqueId val="{00000031-FA3E-4872-B6E1-C4ABDF5766E2}"/>
              </c:ext>
            </c:extLst>
          </c:dPt>
          <c:dPt>
            <c:idx val="24"/>
            <c:invertIfNegative val="1"/>
            <c:bubble3D val="0"/>
            <c:spPr>
              <a:solidFill>
                <a:srgbClr val="7ECAC4"/>
              </a:solidFill>
            </c:spPr>
            <c:extLst>
              <c:ext xmlns:c16="http://schemas.microsoft.com/office/drawing/2014/chart" uri="{C3380CC4-5D6E-409C-BE32-E72D297353CC}">
                <c16:uniqueId val="{00000033-FA3E-4872-B6E1-C4ABDF5766E2}"/>
              </c:ext>
            </c:extLst>
          </c:dPt>
          <c:dPt>
            <c:idx val="25"/>
            <c:invertIfNegative val="1"/>
            <c:bubble3D val="0"/>
            <c:spPr>
              <a:solidFill>
                <a:srgbClr val="7ECAC4"/>
              </a:solidFill>
            </c:spPr>
            <c:extLst>
              <c:ext xmlns:c16="http://schemas.microsoft.com/office/drawing/2014/chart" uri="{C3380CC4-5D6E-409C-BE32-E72D297353CC}">
                <c16:uniqueId val="{00000035-FA3E-4872-B6E1-C4ABDF5766E2}"/>
              </c:ext>
            </c:extLst>
          </c:dPt>
          <c:dPt>
            <c:idx val="26"/>
            <c:invertIfNegative val="1"/>
            <c:bubble3D val="0"/>
            <c:spPr>
              <a:solidFill>
                <a:srgbClr val="7ECAC4"/>
              </a:solidFill>
            </c:spPr>
            <c:extLst>
              <c:ext xmlns:c16="http://schemas.microsoft.com/office/drawing/2014/chart" uri="{C3380CC4-5D6E-409C-BE32-E72D297353CC}">
                <c16:uniqueId val="{00000037-FA3E-4872-B6E1-C4ABDF5766E2}"/>
              </c:ext>
            </c:extLst>
          </c:dPt>
          <c:dPt>
            <c:idx val="27"/>
            <c:invertIfNegative val="1"/>
            <c:bubble3D val="0"/>
            <c:spPr>
              <a:solidFill>
                <a:srgbClr val="7ECAC4"/>
              </a:solidFill>
            </c:spPr>
            <c:extLst>
              <c:ext xmlns:c16="http://schemas.microsoft.com/office/drawing/2014/chart" uri="{C3380CC4-5D6E-409C-BE32-E72D297353CC}">
                <c16:uniqueId val="{00000039-FA3E-4872-B6E1-C4ABDF5766E2}"/>
              </c:ext>
            </c:extLst>
          </c:dPt>
          <c:dPt>
            <c:idx val="28"/>
            <c:invertIfNegative val="1"/>
            <c:bubble3D val="0"/>
            <c:spPr>
              <a:solidFill>
                <a:srgbClr val="7ECAC4"/>
              </a:solidFill>
            </c:spPr>
            <c:extLst>
              <c:ext xmlns:c16="http://schemas.microsoft.com/office/drawing/2014/chart" uri="{C3380CC4-5D6E-409C-BE32-E72D297353CC}">
                <c16:uniqueId val="{0000003B-FA3E-4872-B6E1-C4ABDF5766E2}"/>
              </c:ext>
            </c:extLst>
          </c:dPt>
          <c:dPt>
            <c:idx val="29"/>
            <c:invertIfNegative val="1"/>
            <c:bubble3D val="0"/>
            <c:spPr>
              <a:solidFill>
                <a:srgbClr val="7ECAC4"/>
              </a:solidFill>
            </c:spPr>
            <c:extLst>
              <c:ext xmlns:c16="http://schemas.microsoft.com/office/drawing/2014/chart" uri="{C3380CC4-5D6E-409C-BE32-E72D297353CC}">
                <c16:uniqueId val="{0000003D-FA3E-4872-B6E1-C4ABDF5766E2}"/>
              </c:ext>
            </c:extLst>
          </c:dPt>
          <c:dPt>
            <c:idx val="30"/>
            <c:invertIfNegative val="1"/>
            <c:bubble3D val="0"/>
            <c:spPr>
              <a:solidFill>
                <a:srgbClr val="AEABAB"/>
              </a:solidFill>
            </c:spPr>
            <c:extLst>
              <c:ext xmlns:c16="http://schemas.microsoft.com/office/drawing/2014/chart" uri="{C3380CC4-5D6E-409C-BE32-E72D297353CC}">
                <c16:uniqueId val="{0000003F-FA3E-4872-B6E1-C4ABDF5766E2}"/>
              </c:ext>
            </c:extLst>
          </c:dPt>
          <c:dPt>
            <c:idx val="31"/>
            <c:invertIfNegative val="1"/>
            <c:bubble3D val="0"/>
            <c:spPr>
              <a:solidFill>
                <a:srgbClr val="AEABAB"/>
              </a:solidFill>
            </c:spPr>
            <c:extLst>
              <c:ext xmlns:c16="http://schemas.microsoft.com/office/drawing/2014/chart" uri="{C3380CC4-5D6E-409C-BE32-E72D297353CC}">
                <c16:uniqueId val="{00000041-FA3E-4872-B6E1-C4ABDF5766E2}"/>
              </c:ext>
            </c:extLst>
          </c:dPt>
          <c:dPt>
            <c:idx val="32"/>
            <c:invertIfNegative val="1"/>
            <c:bubble3D val="0"/>
            <c:spPr>
              <a:solidFill>
                <a:srgbClr val="AEABAB"/>
              </a:solidFill>
            </c:spPr>
            <c:extLst>
              <c:ext xmlns:c16="http://schemas.microsoft.com/office/drawing/2014/chart" uri="{C3380CC4-5D6E-409C-BE32-E72D297353CC}">
                <c16:uniqueId val="{00000043-FA3E-4872-B6E1-C4ABDF5766E2}"/>
              </c:ext>
            </c:extLst>
          </c:dPt>
          <c:dPt>
            <c:idx val="33"/>
            <c:invertIfNegative val="1"/>
            <c:bubble3D val="0"/>
            <c:spPr>
              <a:solidFill>
                <a:srgbClr val="AEABAB"/>
              </a:solidFill>
            </c:spPr>
            <c:extLst>
              <c:ext xmlns:c16="http://schemas.microsoft.com/office/drawing/2014/chart" uri="{C3380CC4-5D6E-409C-BE32-E72D297353CC}">
                <c16:uniqueId val="{00000045-FA3E-4872-B6E1-C4ABDF5766E2}"/>
              </c:ext>
            </c:extLst>
          </c:dPt>
          <c:dPt>
            <c:idx val="34"/>
            <c:invertIfNegative val="1"/>
            <c:bubble3D val="0"/>
            <c:spPr>
              <a:solidFill>
                <a:srgbClr val="AEABAB"/>
              </a:solidFill>
            </c:spPr>
            <c:extLst>
              <c:ext xmlns:c16="http://schemas.microsoft.com/office/drawing/2014/chart" uri="{C3380CC4-5D6E-409C-BE32-E72D297353CC}">
                <c16:uniqueId val="{00000047-FA3E-4872-B6E1-C4ABDF5766E2}"/>
              </c:ext>
            </c:extLst>
          </c:dPt>
          <c:dPt>
            <c:idx val="35"/>
            <c:invertIfNegative val="1"/>
            <c:bubble3D val="0"/>
            <c:spPr>
              <a:solidFill>
                <a:srgbClr val="AEABAB"/>
              </a:solidFill>
            </c:spPr>
            <c:extLst>
              <c:ext xmlns:c16="http://schemas.microsoft.com/office/drawing/2014/chart" uri="{C3380CC4-5D6E-409C-BE32-E72D297353CC}">
                <c16:uniqueId val="{00000049-FA3E-4872-B6E1-C4ABDF5766E2}"/>
              </c:ext>
            </c:extLst>
          </c:dPt>
          <c:dPt>
            <c:idx val="36"/>
            <c:invertIfNegative val="1"/>
            <c:bubble3D val="0"/>
            <c:spPr>
              <a:solidFill>
                <a:srgbClr val="AEABAB"/>
              </a:solidFill>
            </c:spPr>
            <c:extLst>
              <c:ext xmlns:c16="http://schemas.microsoft.com/office/drawing/2014/chart" uri="{C3380CC4-5D6E-409C-BE32-E72D297353CC}">
                <c16:uniqueId val="{0000004B-FA3E-4872-B6E1-C4ABDF5766E2}"/>
              </c:ext>
            </c:extLst>
          </c:dPt>
          <c:dPt>
            <c:idx val="37"/>
            <c:invertIfNegative val="1"/>
            <c:bubble3D val="0"/>
            <c:spPr>
              <a:solidFill>
                <a:srgbClr val="AEABAB"/>
              </a:solidFill>
            </c:spPr>
            <c:extLst>
              <c:ext xmlns:c16="http://schemas.microsoft.com/office/drawing/2014/chart" uri="{C3380CC4-5D6E-409C-BE32-E72D297353CC}">
                <c16:uniqueId val="{0000004D-FA3E-4872-B6E1-C4ABDF5766E2}"/>
              </c:ext>
            </c:extLst>
          </c:dPt>
          <c:dPt>
            <c:idx val="38"/>
            <c:invertIfNegative val="1"/>
            <c:bubble3D val="0"/>
            <c:spPr>
              <a:solidFill>
                <a:srgbClr val="AEABAB"/>
              </a:solidFill>
            </c:spPr>
            <c:extLst>
              <c:ext xmlns:c16="http://schemas.microsoft.com/office/drawing/2014/chart" uri="{C3380CC4-5D6E-409C-BE32-E72D297353CC}">
                <c16:uniqueId val="{0000004F-FA3E-4872-B6E1-C4ABDF5766E2}"/>
              </c:ext>
            </c:extLst>
          </c:dPt>
          <c:dPt>
            <c:idx val="39"/>
            <c:invertIfNegative val="1"/>
            <c:bubble3D val="0"/>
            <c:spPr>
              <a:solidFill>
                <a:srgbClr val="AEABAB"/>
              </a:solidFill>
            </c:spPr>
            <c:extLst>
              <c:ext xmlns:c16="http://schemas.microsoft.com/office/drawing/2014/chart" uri="{C3380CC4-5D6E-409C-BE32-E72D297353CC}">
                <c16:uniqueId val="{00000051-FA3E-4872-B6E1-C4ABDF5766E2}"/>
              </c:ext>
            </c:extLst>
          </c:dPt>
          <c:dPt>
            <c:idx val="40"/>
            <c:invertIfNegative val="1"/>
            <c:bubble3D val="0"/>
            <c:spPr>
              <a:solidFill>
                <a:srgbClr val="AEABAB"/>
              </a:solidFill>
            </c:spPr>
            <c:extLst>
              <c:ext xmlns:c16="http://schemas.microsoft.com/office/drawing/2014/chart" uri="{C3380CC4-5D6E-409C-BE32-E72D297353CC}">
                <c16:uniqueId val="{00000053-FA3E-4872-B6E1-C4ABDF5766E2}"/>
              </c:ext>
            </c:extLst>
          </c:dPt>
          <c:dPt>
            <c:idx val="41"/>
            <c:invertIfNegative val="1"/>
            <c:bubble3D val="0"/>
            <c:spPr>
              <a:solidFill>
                <a:srgbClr val="AEABAB"/>
              </a:solidFill>
            </c:spPr>
            <c:extLst>
              <c:ext xmlns:c16="http://schemas.microsoft.com/office/drawing/2014/chart" uri="{C3380CC4-5D6E-409C-BE32-E72D297353CC}">
                <c16:uniqueId val="{00000055-FA3E-4872-B6E1-C4ABDF5766E2}"/>
              </c:ext>
            </c:extLst>
          </c:dPt>
          <c:dPt>
            <c:idx val="42"/>
            <c:invertIfNegative val="1"/>
            <c:bubble3D val="0"/>
            <c:spPr>
              <a:solidFill>
                <a:srgbClr val="AEABAB"/>
              </a:solidFill>
            </c:spPr>
            <c:extLst>
              <c:ext xmlns:c16="http://schemas.microsoft.com/office/drawing/2014/chart" uri="{C3380CC4-5D6E-409C-BE32-E72D297353CC}">
                <c16:uniqueId val="{00000057-FA3E-4872-B6E1-C4ABDF5766E2}"/>
              </c:ext>
            </c:extLst>
          </c:dPt>
          <c:dPt>
            <c:idx val="43"/>
            <c:invertIfNegative val="1"/>
            <c:bubble3D val="0"/>
            <c:spPr>
              <a:solidFill>
                <a:srgbClr val="AEABAB"/>
              </a:solidFill>
            </c:spPr>
            <c:extLst>
              <c:ext xmlns:c16="http://schemas.microsoft.com/office/drawing/2014/chart" uri="{C3380CC4-5D6E-409C-BE32-E72D297353CC}">
                <c16:uniqueId val="{00000059-FA3E-4872-B6E1-C4ABDF5766E2}"/>
              </c:ext>
            </c:extLst>
          </c:dPt>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C$2:$C$45</c:f>
              <c:numCache>
                <c:formatCode>0%</c:formatCode>
                <c:ptCount val="44"/>
                <c:pt idx="0">
                  <c:v>0.1714269179917661</c:v>
                </c:pt>
                <c:pt idx="1">
                  <c:v>0.28612142677597879</c:v>
                </c:pt>
                <c:pt idx="2">
                  <c:v>0.35032808548045119</c:v>
                </c:pt>
                <c:pt idx="3">
                  <c:v>0.41195177665335059</c:v>
                </c:pt>
                <c:pt idx="4">
                  <c:v>0.45909486608886318</c:v>
                </c:pt>
                <c:pt idx="5">
                  <c:v>0.50040097364097136</c:v>
                </c:pt>
                <c:pt idx="6">
                  <c:v>0.53738654938288266</c:v>
                </c:pt>
                <c:pt idx="7">
                  <c:v>0.57205564494483507</c:v>
                </c:pt>
                <c:pt idx="8">
                  <c:v>0.60587976329276971</c:v>
                </c:pt>
                <c:pt idx="9">
                  <c:v>0.63948812842517544</c:v>
                </c:pt>
                <c:pt idx="10">
                  <c:v>0.66968995726829517</c:v>
                </c:pt>
                <c:pt idx="11">
                  <c:v>0.69529088518108784</c:v>
                </c:pt>
                <c:pt idx="12">
                  <c:v>0.71847869308297396</c:v>
                </c:pt>
                <c:pt idx="13">
                  <c:v>0.74015899772921245</c:v>
                </c:pt>
                <c:pt idx="14">
                  <c:v>0.76142661266386524</c:v>
                </c:pt>
                <c:pt idx="15">
                  <c:v>0.78196619807117973</c:v>
                </c:pt>
                <c:pt idx="16">
                  <c:v>0.80008272255918744</c:v>
                </c:pt>
                <c:pt idx="17">
                  <c:v>0.81798104410781058</c:v>
                </c:pt>
                <c:pt idx="18">
                  <c:v>0.8335264946510812</c:v>
                </c:pt>
                <c:pt idx="19">
                  <c:v>0.84894537612847065</c:v>
                </c:pt>
                <c:pt idx="20">
                  <c:v>0.86323173961636612</c:v>
                </c:pt>
                <c:pt idx="21">
                  <c:v>0.87705514079876623</c:v>
                </c:pt>
                <c:pt idx="22">
                  <c:v>0.89023877351912417</c:v>
                </c:pt>
                <c:pt idx="23">
                  <c:v>0.90129206956931729</c:v>
                </c:pt>
                <c:pt idx="24">
                  <c:v>0.91114769917675076</c:v>
                </c:pt>
                <c:pt idx="25">
                  <c:v>0.92014862368123196</c:v>
                </c:pt>
                <c:pt idx="26">
                  <c:v>0.92848783871870211</c:v>
                </c:pt>
                <c:pt idx="27">
                  <c:v>0.93436980321261753</c:v>
                </c:pt>
                <c:pt idx="28">
                  <c:v>0.94018683227273303</c:v>
                </c:pt>
                <c:pt idx="29">
                  <c:v>0.94567368116098449</c:v>
                </c:pt>
                <c:pt idx="30">
                  <c:v>0.95076758014147333</c:v>
                </c:pt>
                <c:pt idx="31">
                  <c:v>0.95560727589287109</c:v>
                </c:pt>
                <c:pt idx="32">
                  <c:v>0.96032551504556485</c:v>
                </c:pt>
                <c:pt idx="33">
                  <c:v>0.96491679459669022</c:v>
                </c:pt>
                <c:pt idx="34">
                  <c:v>0.96889248339513268</c:v>
                </c:pt>
                <c:pt idx="35">
                  <c:v>0.9726753540738553</c:v>
                </c:pt>
                <c:pt idx="36">
                  <c:v>0.97625326452331218</c:v>
                </c:pt>
                <c:pt idx="37">
                  <c:v>0.97969707921909899</c:v>
                </c:pt>
                <c:pt idx="38">
                  <c:v>0.98287618172548608</c:v>
                </c:pt>
                <c:pt idx="39">
                  <c:v>0.98594572122000512</c:v>
                </c:pt>
                <c:pt idx="40">
                  <c:v>0.98871579084896777</c:v>
                </c:pt>
                <c:pt idx="41">
                  <c:v>0.99133209592692584</c:v>
                </c:pt>
                <c:pt idx="42">
                  <c:v>0.99355530908414413</c:v>
                </c:pt>
                <c:pt idx="43">
                  <c:v>0.99562106535295192</c:v>
                </c:pt>
              </c:numCache>
            </c:numRef>
          </c:val>
          <c:extLst>
            <c:ext xmlns:c16="http://schemas.microsoft.com/office/drawing/2014/chart" uri="{C3380CC4-5D6E-409C-BE32-E72D297353CC}">
              <c16:uniqueId val="{00000011-D8F4-40C6-A5E0-DB4B53CFB1F3}"/>
            </c:ext>
          </c:extLst>
        </c:ser>
        <c:dLbls>
          <c:showLegendKey val="0"/>
          <c:showVal val="0"/>
          <c:showCatName val="0"/>
          <c:showSerName val="0"/>
          <c:showPercent val="0"/>
          <c:showBubbleSize val="0"/>
        </c:dLbls>
        <c:gapWidth val="50"/>
        <c:axId val="348025768"/>
        <c:axId val="348023416"/>
      </c:barChart>
      <c:lineChart>
        <c:grouping val="standard"/>
        <c:varyColors val="0"/>
        <c:ser>
          <c:idx val="2"/>
          <c:order val="2"/>
          <c:tx>
            <c:strRef>
              <c:f>Sheet1!$D$1</c:f>
              <c:strCache>
                <c:ptCount val="1"/>
                <c:pt idx="0">
                  <c:v> Product Sales Rate </c:v>
                </c:pt>
              </c:strCache>
            </c:strRef>
          </c:tx>
          <c:spPr>
            <a:ln w="28575" cap="rnd">
              <a:solidFill>
                <a:srgbClr val="C00000"/>
              </a:solidFill>
              <a:round/>
            </a:ln>
            <a:effectLst/>
          </c:spPr>
          <c:marker>
            <c:symbol val="none"/>
          </c:marker>
          <c:cat>
            <c:strRef>
              <c:f>Sheet1!$A$2:$A$45</c:f>
              <c:strCache>
                <c:ptCount val="44"/>
                <c:pt idx="0">
                  <c:v>GS Wenig Co2 12 1.0 L Mw Petfl</c:v>
                </c:pt>
                <c:pt idx="1">
                  <c:v>GS Mit Co2 12 1.0 L Mw Petfl</c:v>
                </c:pt>
                <c:pt idx="2">
                  <c:v>GS Wenig Co2 6 1.5 L Ew Petfl</c:v>
                </c:pt>
                <c:pt idx="3">
                  <c:v>GS Wenig Co2 12 0.75 L Mw Fl</c:v>
                </c:pt>
                <c:pt idx="4">
                  <c:v>GS Ohne Co2 6 1.0 L Mw Fl</c:v>
                </c:pt>
                <c:pt idx="5">
                  <c:v>GS Mit Co2 12 0.75 L Mw Fl</c:v>
                </c:pt>
                <c:pt idx="6">
                  <c:v>GS Wenig Co2 6 1.0 L Mw Fl</c:v>
                </c:pt>
                <c:pt idx="7">
                  <c:v>GS Mit Co2 6 1.5 L Ew Petfl</c:v>
                </c:pt>
                <c:pt idx="8">
                  <c:v>GS Wenig Co2 1 1.5 L Ew Petfl</c:v>
                </c:pt>
                <c:pt idx="9">
                  <c:v>GS Ohne Co2 12 1.0 L Mw Petfl</c:v>
                </c:pt>
                <c:pt idx="10">
                  <c:v>GS Wenig Co2 6 0.75 L Ew Petfl</c:v>
                </c:pt>
                <c:pt idx="11">
                  <c:v>GS Mit Co2 1 1.5 L Ew Petfl</c:v>
                </c:pt>
                <c:pt idx="12">
                  <c:v>GS Ohne Co2 6 1.5 L Ew Petfl</c:v>
                </c:pt>
                <c:pt idx="13">
                  <c:v>GS Ohne Co2 6 1.5 L Mw Petfl</c:v>
                </c:pt>
                <c:pt idx="14">
                  <c:v>GS Mit Co2 6 1.0 L Mw Fl</c:v>
                </c:pt>
                <c:pt idx="15">
                  <c:v>GS Mit Co2 6 0.75 L Ew Petfl</c:v>
                </c:pt>
                <c:pt idx="16">
                  <c:v>GS Wenig Co2 1 0.75 L Ew Petfl</c:v>
                </c:pt>
                <c:pt idx="17">
                  <c:v>GS Wenig Co2 1 1.0 L Mw Petfl</c:v>
                </c:pt>
                <c:pt idx="18">
                  <c:v>GS Ohne Co2 1 1.5 L Ew Petfl</c:v>
                </c:pt>
                <c:pt idx="19">
                  <c:v>GS Mit Co2 1 0.75 L Ew Petfl</c:v>
                </c:pt>
                <c:pt idx="20">
                  <c:v>GS Ohne Co2 12 0.75 L Mw Fl</c:v>
                </c:pt>
                <c:pt idx="21">
                  <c:v>GS Mit Co2 1 1.0 L Mw Petfl</c:v>
                </c:pt>
                <c:pt idx="22">
                  <c:v>GS Ohne Co2 6 0.75 L Ew Petfl</c:v>
                </c:pt>
                <c:pt idx="23">
                  <c:v>GS  Wenig Co2 6 1.0 L Mw Fl</c:v>
                </c:pt>
                <c:pt idx="24">
                  <c:v>GS Ohne Co2 1 0.75 L Ew Petfl</c:v>
                </c:pt>
                <c:pt idx="25">
                  <c:v>GS Wenig Co2 6 0.5 L Ew Petfl</c:v>
                </c:pt>
                <c:pt idx="26">
                  <c:v>GS Mit Co2 6 0.5 L Ew Petfl</c:v>
                </c:pt>
                <c:pt idx="27">
                  <c:v>GS Mit Co2 1 0.5 L Ew Petfl</c:v>
                </c:pt>
                <c:pt idx="28">
                  <c:v>GS Wenig Co2 1 0.5 L Ew Petfl</c:v>
                </c:pt>
                <c:pt idx="29">
                  <c:v>GS Wenig Co2 6 0.33 L Ew Petfl</c:v>
                </c:pt>
                <c:pt idx="30">
                  <c:v>GS Mit Co2 6 0.33 L Ew Petfl</c:v>
                </c:pt>
                <c:pt idx="31">
                  <c:v>GS Ohne Co2 6 0.5 L Ew Petfl</c:v>
                </c:pt>
                <c:pt idx="32">
                  <c:v>GS Ohne Co2 1 1.0 L Mw Fl</c:v>
                </c:pt>
                <c:pt idx="33">
                  <c:v>GS Wenig Co2 1 1.0 L Mw Fl</c:v>
                </c:pt>
                <c:pt idx="34">
                  <c:v>GS Ohne Co2 1 0.5 L Ew Petfl</c:v>
                </c:pt>
                <c:pt idx="35">
                  <c:v>GS Feinperlig  Wenig Co2 6 1.0 L Mw Fl</c:v>
                </c:pt>
                <c:pt idx="36">
                  <c:v>GS Ohne Co2 1 1.0 L Mw Petfl</c:v>
                </c:pt>
                <c:pt idx="37">
                  <c:v>GS Mit Co2 1 1.0 L Mw Fl</c:v>
                </c:pt>
                <c:pt idx="38">
                  <c:v>GS Wenig Co2 1 0.75 L Mw Fl</c:v>
                </c:pt>
                <c:pt idx="39">
                  <c:v>GS Ohne Co2 1 1.5 L Mw Petfl</c:v>
                </c:pt>
                <c:pt idx="40">
                  <c:v>GS Mit Co2 1 0.75 L Mw Fl</c:v>
                </c:pt>
                <c:pt idx="41">
                  <c:v>GS Wenig Co2 1 0.33 L Ew Petfl</c:v>
                </c:pt>
                <c:pt idx="42">
                  <c:v>GS Mit Co2 1 0.33 L Ew Petfl</c:v>
                </c:pt>
                <c:pt idx="43">
                  <c:v>GS Mit Co2 12 0.7 L Mw Brfl</c:v>
                </c:pt>
              </c:strCache>
            </c:strRef>
          </c:cat>
          <c:val>
            <c:numRef>
              <c:f>Sheet1!$D$2:$D$45</c:f>
              <c:numCache>
                <c:formatCode>_(* #,##0.00_);_(* \(#,##0.00\);_(* "-"??_);_(@_)</c:formatCode>
                <c:ptCount val="44"/>
                <c:pt idx="0">
                  <c:v>49.778206185567008</c:v>
                </c:pt>
                <c:pt idx="1">
                  <c:v>33.651416666666663</c:v>
                </c:pt>
                <c:pt idx="2">
                  <c:v>19.445946236559141</c:v>
                </c:pt>
                <c:pt idx="3">
                  <c:v>22.252820512820509</c:v>
                </c:pt>
                <c:pt idx="4">
                  <c:v>15.6218</c:v>
                </c:pt>
                <c:pt idx="5">
                  <c:v>15.93761643835616</c:v>
                </c:pt>
                <c:pt idx="6">
                  <c:v>11.97416091954023</c:v>
                </c:pt>
                <c:pt idx="7">
                  <c:v>10.97196629213483</c:v>
                </c:pt>
                <c:pt idx="8">
                  <c:v>9.6232828282828287</c:v>
                </c:pt>
                <c:pt idx="9">
                  <c:v>13.920999999999999</c:v>
                </c:pt>
                <c:pt idx="10">
                  <c:v>10.768075949367089</c:v>
                </c:pt>
                <c:pt idx="11">
                  <c:v>7.3580306122448986</c:v>
                </c:pt>
                <c:pt idx="12">
                  <c:v>9.1988450704225357</c:v>
                </c:pt>
                <c:pt idx="13">
                  <c:v>9.5415156250000006</c:v>
                </c:pt>
                <c:pt idx="14">
                  <c:v>7.305280487804878</c:v>
                </c:pt>
                <c:pt idx="15">
                  <c:v>7.5133376623376629</c:v>
                </c:pt>
                <c:pt idx="16">
                  <c:v>5.2069183673469386</c:v>
                </c:pt>
                <c:pt idx="17">
                  <c:v>5.3066526315789471</c:v>
                </c:pt>
                <c:pt idx="18">
                  <c:v>5.4056790123456793</c:v>
                </c:pt>
                <c:pt idx="19">
                  <c:v>4.4772680412371137</c:v>
                </c:pt>
                <c:pt idx="20">
                  <c:v>7.1856428571428559</c:v>
                </c:pt>
                <c:pt idx="21">
                  <c:v>4.1866236559139791</c:v>
                </c:pt>
                <c:pt idx="22">
                  <c:v>5.3816811594202898</c:v>
                </c:pt>
                <c:pt idx="23">
                  <c:v>5.0214838709677414</c:v>
                </c:pt>
                <c:pt idx="24">
                  <c:v>3.0173695652173911</c:v>
                </c:pt>
                <c:pt idx="25">
                  <c:v>4.2970169491525434</c:v>
                </c:pt>
                <c:pt idx="26">
                  <c:v>4.1208070175438598</c:v>
                </c:pt>
                <c:pt idx="27">
                  <c:v>2.4727462686567159</c:v>
                </c:pt>
                <c:pt idx="28">
                  <c:v>2.340642857142857</c:v>
                </c:pt>
                <c:pt idx="29">
                  <c:v>2.9720192307692308</c:v>
                </c:pt>
                <c:pt idx="30">
                  <c:v>2.8695400000000002</c:v>
                </c:pt>
                <c:pt idx="31">
                  <c:v>2.6728823529411772</c:v>
                </c:pt>
                <c:pt idx="32">
                  <c:v>1.95435294117647</c:v>
                </c:pt>
                <c:pt idx="33">
                  <c:v>1.821408450704225</c:v>
                </c:pt>
                <c:pt idx="34">
                  <c:v>1.806145161290323</c:v>
                </c:pt>
                <c:pt idx="35">
                  <c:v>2.8039473684210519</c:v>
                </c:pt>
                <c:pt idx="36">
                  <c:v>1.708084745762712</c:v>
                </c:pt>
                <c:pt idx="37">
                  <c:v>1.4923076923076919</c:v>
                </c:pt>
                <c:pt idx="38">
                  <c:v>1.4923999999999999</c:v>
                </c:pt>
                <c:pt idx="39">
                  <c:v>1.662653846153846</c:v>
                </c:pt>
                <c:pt idx="40">
                  <c:v>1.4186000000000001</c:v>
                </c:pt>
                <c:pt idx="41">
                  <c:v>1.1885806451612899</c:v>
                </c:pt>
                <c:pt idx="42">
                  <c:v>1.043666666666667</c:v>
                </c:pt>
                <c:pt idx="43">
                  <c:v>6.4649999999999999</c:v>
                </c:pt>
              </c:numCache>
            </c:numRef>
          </c:val>
          <c:smooth val="0"/>
          <c:extLst>
            <c:ext xmlns:c16="http://schemas.microsoft.com/office/drawing/2014/chart" uri="{C3380CC4-5D6E-409C-BE32-E72D297353CC}">
              <c16:uniqueId val="{00000012-D8F4-40C6-A5E0-DB4B53CFB1F3}"/>
            </c:ext>
          </c:extLst>
        </c:ser>
        <c:dLbls>
          <c:showLegendKey val="0"/>
          <c:showVal val="0"/>
          <c:showCatName val="0"/>
          <c:showSerName val="0"/>
          <c:showPercent val="0"/>
          <c:showBubbleSize val="0"/>
        </c:dLbls>
        <c:marker val="1"/>
        <c:smooth val="0"/>
        <c:axId val="348019496"/>
        <c:axId val="348021456"/>
      </c:lineChart>
      <c:catAx>
        <c:axId val="348025768"/>
        <c:scaling>
          <c:orientation val="minMax"/>
        </c:scaling>
        <c:delete val="0"/>
        <c:axPos val="b"/>
        <c:numFmt formatCode="General" sourceLinked="1"/>
        <c:majorTickMark val="none"/>
        <c:minorTickMark val="none"/>
        <c:tickLblPos val="nextTo"/>
        <c:spPr>
          <a:noFill/>
          <a:ln w="9525" cap="flat" cmpd="sng" algn="ctr">
            <a:noFill/>
            <a:round/>
          </a:ln>
          <a:effectLst/>
        </c:spPr>
        <c:txPr>
          <a:bodyPr rot="-5400000"/>
          <a:lstStyle/>
          <a:p>
            <a:pPr>
              <a:defRPr/>
            </a:pPr>
            <a:endParaRPr lang="en-CH"/>
          </a:p>
        </c:txPr>
        <c:crossAx val="348023416"/>
        <c:crosses val="autoZero"/>
        <c:auto val="1"/>
        <c:lblAlgn val="ctr"/>
        <c:lblOffset val="100"/>
        <c:noMultiLvlLbl val="0"/>
      </c:catAx>
      <c:valAx>
        <c:axId val="348023416"/>
        <c:scaling>
          <c:orientation val="minMax"/>
          <c:max val="1"/>
        </c:scaling>
        <c:delete val="0"/>
        <c:axPos val="l"/>
        <c:numFmt formatCode="0%" sourceLinked="0"/>
        <c:majorTickMark val="none"/>
        <c:minorTickMark val="none"/>
        <c:tickLblPos val="nextTo"/>
        <c:spPr>
          <a:noFill/>
          <a:ln>
            <a:noFill/>
          </a:ln>
          <a:effectLst/>
        </c:spPr>
        <c:txPr>
          <a:bodyPr rot="-60000000" vert="horz"/>
          <a:lstStyle/>
          <a:p>
            <a:pPr>
              <a:defRPr/>
            </a:pPr>
            <a:endParaRPr lang="en-CH"/>
          </a:p>
        </c:txPr>
        <c:crossAx val="348025768"/>
        <c:crosses val="autoZero"/>
        <c:crossBetween val="between"/>
      </c:valAx>
      <c:valAx>
        <c:axId val="348021456"/>
        <c:scaling>
          <c:orientation val="minMax"/>
        </c:scaling>
        <c:delete val="0"/>
        <c:axPos val="r"/>
        <c:numFmt formatCode="_(* #,##0.00_);_(* \(#,##0.00\);_(* &quot;-&quot;??_);_(@_)" sourceLinked="1"/>
        <c:majorTickMark val="out"/>
        <c:minorTickMark val="none"/>
        <c:tickLblPos val="nextTo"/>
        <c:spPr>
          <a:noFill/>
          <a:ln>
            <a:noFill/>
          </a:ln>
          <a:effectLst/>
        </c:spPr>
        <c:txPr>
          <a:bodyPr rot="-60000000" vert="horz"/>
          <a:lstStyle/>
          <a:p>
            <a:pPr>
              <a:defRPr/>
            </a:pPr>
            <a:endParaRPr lang="en-CH"/>
          </a:p>
        </c:txPr>
        <c:crossAx val="348019496"/>
        <c:crosses val="max"/>
        <c:crossBetween val="between"/>
      </c:valAx>
      <c:catAx>
        <c:axId val="348019496"/>
        <c:scaling>
          <c:orientation val="minMax"/>
        </c:scaling>
        <c:delete val="1"/>
        <c:axPos val="b"/>
        <c:numFmt formatCode="General" sourceLinked="1"/>
        <c:majorTickMark val="out"/>
        <c:minorTickMark val="none"/>
        <c:tickLblPos val="nextTo"/>
        <c:crossAx val="348021456"/>
        <c:crosses val="autoZero"/>
        <c:auto val="1"/>
        <c:lblAlgn val="ctr"/>
        <c:lblOffset val="100"/>
        <c:noMultiLvlLbl val="0"/>
      </c:catAx>
      <c:spPr>
        <a:noFill/>
        <a:ln>
          <a:noFill/>
        </a:ln>
        <a:effectLst/>
      </c:spPr>
    </c:plotArea>
    <c:legend>
      <c:legendPos val="t"/>
      <c:layout>
        <c:manualLayout>
          <c:xMode val="edge"/>
          <c:yMode val="edge"/>
          <c:x val="0.2500116975294201"/>
          <c:y val="3.6213101843218369E-3"/>
          <c:w val="0.49997660494115986"/>
          <c:h val="6.5214948996554917E-2"/>
        </c:manualLayout>
      </c:layout>
      <c:overlay val="0"/>
      <c:spPr>
        <a:noFill/>
        <a:ln>
          <a:noFill/>
        </a:ln>
        <a:effectLst/>
      </c:spPr>
      <c:txPr>
        <a:bodyPr rot="0" vert="horz"/>
        <a:lstStyle/>
        <a:p>
          <a:pPr>
            <a:defRPr/>
          </a:pPr>
          <a:endParaRPr lang="en-CH"/>
        </a:p>
      </c:txPr>
    </c:legend>
    <c:plotVisOnly val="1"/>
    <c:dispBlanksAs val="gap"/>
    <c:showDLblsOverMax val="0"/>
    <c:extLst/>
  </c:chart>
  <c:spPr>
    <a:noFill/>
    <a:ln w="9525" cap="flat" cmpd="sng" algn="ctr">
      <a:noFill/>
      <a:round/>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558024691358"/>
          <c:y val="2.133550051007873E-2"/>
          <c:w val="0.85086530864197518"/>
          <c:h val="0.91872893311140824"/>
        </c:manualLayout>
      </c:layout>
      <c:bubbleChart>
        <c:varyColors val="1"/>
        <c:ser>
          <c:idx val="0"/>
          <c:order val="0"/>
          <c:tx>
            <c:strRef>
              <c:f>Sheet1!$B$1</c:f>
              <c:strCache>
                <c:ptCount val="1"/>
                <c:pt idx="0">
                  <c:v>sku productivity index</c:v>
                </c:pt>
              </c:strCache>
            </c:strRef>
          </c:tx>
          <c:spPr>
            <a:solidFill>
              <a:srgbClr val="BCBBBB"/>
            </a:solidFill>
            <a:ln w="22225">
              <a:solidFill>
                <a:schemeClr val="bg1"/>
              </a:solidFill>
            </a:ln>
          </c:spPr>
          <c:invertIfNegative val="0"/>
          <c:dPt>
            <c:idx val="0"/>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1-BFDA-4C69-8E79-A083B7EFBA29}"/>
              </c:ext>
            </c:extLst>
          </c:dPt>
          <c:dPt>
            <c:idx val="1"/>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3-BFDA-4C69-8E79-A083B7EFBA29}"/>
              </c:ext>
            </c:extLst>
          </c:dPt>
          <c:dPt>
            <c:idx val="2"/>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5-BFDA-4C69-8E79-A083B7EFBA29}"/>
              </c:ext>
            </c:extLst>
          </c:dPt>
          <c:dPt>
            <c:idx val="3"/>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7-BFDA-4C69-8E79-A083B7EFBA29}"/>
              </c:ext>
            </c:extLst>
          </c:dPt>
          <c:dPt>
            <c:idx val="4"/>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9-BFDA-4C69-8E79-A083B7EFBA29}"/>
              </c:ext>
            </c:extLst>
          </c:dPt>
          <c:dPt>
            <c:idx val="5"/>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B-BFDA-4C69-8E79-A083B7EFBA29}"/>
              </c:ext>
            </c:extLst>
          </c:dPt>
          <c:dPt>
            <c:idx val="6"/>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D-BFDA-4C69-8E79-A083B7EFBA29}"/>
              </c:ext>
            </c:extLst>
          </c:dPt>
          <c:dPt>
            <c:idx val="7"/>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0F-BFDA-4C69-8E79-A083B7EFBA29}"/>
              </c:ext>
            </c:extLst>
          </c:dPt>
          <c:dPt>
            <c:idx val="8"/>
            <c:invertIfNegative val="0"/>
            <c:bubble3D val="0"/>
            <c:spPr>
              <a:solidFill>
                <a:srgbClr val="BCBBBB"/>
              </a:solidFill>
              <a:ln w="22225">
                <a:solidFill>
                  <a:schemeClr val="bg1"/>
                </a:solidFill>
              </a:ln>
              <a:effectLst/>
            </c:spPr>
            <c:extLst>
              <c:ext xmlns:c16="http://schemas.microsoft.com/office/drawing/2014/chart" uri="{C3380CC4-5D6E-409C-BE32-E72D297353CC}">
                <c16:uniqueId val="{00000011-BFDA-4C69-8E79-A083B7EFBA29}"/>
              </c:ext>
            </c:extLst>
          </c:dPt>
          <c:dLbls>
            <c:dLbl>
              <c:idx val="0"/>
              <c:tx>
                <c:rich>
                  <a:bodyPr/>
                  <a:lstStyle/>
                  <a:p>
                    <a:fld id="{9ACE48A7-2821-4647-977F-24DA7F2714C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DA-4C69-8E79-A083B7EFBA29}"/>
                </c:ext>
              </c:extLst>
            </c:dLbl>
            <c:dLbl>
              <c:idx val="1"/>
              <c:tx>
                <c:rich>
                  <a:bodyPr/>
                  <a:lstStyle/>
                  <a:p>
                    <a:fld id="{CED3B315-B639-401B-B1A6-07ED52C9B7F9}"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FDA-4C69-8E79-A083B7EFBA29}"/>
                </c:ext>
              </c:extLst>
            </c:dLbl>
            <c:dLbl>
              <c:idx val="2"/>
              <c:tx>
                <c:rich>
                  <a:bodyPr/>
                  <a:lstStyle/>
                  <a:p>
                    <a:fld id="{29D74274-CB64-45C5-A854-B940ACA29E92}"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FDA-4C69-8E79-A083B7EFBA29}"/>
                </c:ext>
              </c:extLst>
            </c:dLbl>
            <c:dLbl>
              <c:idx val="3"/>
              <c:tx>
                <c:rich>
                  <a:bodyPr/>
                  <a:lstStyle/>
                  <a:p>
                    <a:fld id="{898BC659-CD91-4DCB-BC52-3EA11F5082FE}"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FDA-4C69-8E79-A083B7EFBA29}"/>
                </c:ext>
              </c:extLst>
            </c:dLbl>
            <c:dLbl>
              <c:idx val="4"/>
              <c:tx>
                <c:rich>
                  <a:bodyPr/>
                  <a:lstStyle/>
                  <a:p>
                    <a:fld id="{D1F0526D-2FA4-4751-9FCE-17B000B16A33}"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FDA-4C69-8E79-A083B7EFBA29}"/>
                </c:ext>
              </c:extLst>
            </c:dLbl>
            <c:dLbl>
              <c:idx val="5"/>
              <c:tx>
                <c:rich>
                  <a:bodyPr/>
                  <a:lstStyle/>
                  <a:p>
                    <a:fld id="{D12A081D-32D6-472C-A5D6-1D0DC15926B6}"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BFDA-4C69-8E79-A083B7EFBA29}"/>
                </c:ext>
              </c:extLst>
            </c:dLbl>
            <c:dLbl>
              <c:idx val="6"/>
              <c:tx>
                <c:rich>
                  <a:bodyPr/>
                  <a:lstStyle/>
                  <a:p>
                    <a:fld id="{165A264C-245D-4286-854D-F20CCDE4BABF}"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FDA-4C69-8E79-A083B7EFBA29}"/>
                </c:ext>
              </c:extLst>
            </c:dLbl>
            <c:dLbl>
              <c:idx val="7"/>
              <c:tx>
                <c:rich>
                  <a:bodyPr/>
                  <a:lstStyle/>
                  <a:p>
                    <a:fld id="{52AE1B2C-9895-47C4-988C-74F3B5C9D1F4}"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FDA-4C69-8E79-A083B7EFBA29}"/>
                </c:ext>
              </c:extLst>
            </c:dLbl>
            <c:dLbl>
              <c:idx val="8"/>
              <c:tx>
                <c:rich>
                  <a:bodyPr/>
                  <a:lstStyle/>
                  <a:p>
                    <a:fld id="{38A014F4-402A-4BCD-89A5-BF31A7FD1C48}"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BFDA-4C69-8E79-A083B7EFBA29}"/>
                </c:ext>
              </c:extLst>
            </c:dLbl>
            <c:dLbl>
              <c:idx val="9"/>
              <c:tx>
                <c:rich>
                  <a:bodyPr/>
                  <a:lstStyle/>
                  <a:p>
                    <a:fld id="{378E3C02-13C4-4AC7-A21B-60096F347334}" type="CELLRANGE">
                      <a:rPr lang="it-IT"/>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BFDA-4C69-8E79-A083B7EFBA29}"/>
                </c:ext>
              </c:extLst>
            </c:dLbl>
            <c:dLbl>
              <c:idx val="10"/>
              <c:tx>
                <c:rich>
                  <a:bodyPr/>
                  <a:lstStyle/>
                  <a:p>
                    <a:fld id="{B9C5030A-C496-47DC-B012-82B447FC0F0C}"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FDA-4C69-8E79-A083B7EFBA29}"/>
                </c:ext>
              </c:extLst>
            </c:dLbl>
            <c:dLbl>
              <c:idx val="11"/>
              <c:tx>
                <c:rich>
                  <a:bodyPr/>
                  <a:lstStyle/>
                  <a:p>
                    <a:fld id="{74C8E7B8-401A-4FEC-89B2-F23DAEF63A80}" type="CELLRANGE">
                      <a:rPr lang="en-CH"/>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BFDA-4C69-8E79-A083B7EFBA29}"/>
                </c:ext>
              </c:extLst>
            </c:dLbl>
            <c:dLbl>
              <c:idx val="1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BFDA-4C69-8E79-A083B7EFBA29}"/>
                </c:ext>
              </c:extLst>
            </c:dLbl>
            <c:dLbl>
              <c:idx val="1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BFDA-4C69-8E79-A083B7EFBA29}"/>
                </c:ext>
              </c:extLst>
            </c:dLbl>
            <c:dLbl>
              <c:idx val="1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BFDA-4C69-8E79-A083B7EFBA29}"/>
                </c:ext>
              </c:extLst>
            </c:dLbl>
            <c:dLbl>
              <c:idx val="1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BFDA-4C69-8E79-A083B7EFBA29}"/>
                </c:ext>
              </c:extLst>
            </c:dLbl>
            <c:dLbl>
              <c:idx val="1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BFDA-4C69-8E79-A083B7EFBA29}"/>
                </c:ext>
              </c:extLst>
            </c:dLbl>
            <c:dLbl>
              <c:idx val="1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BFDA-4C69-8E79-A083B7EFBA29}"/>
                </c:ext>
              </c:extLst>
            </c:dLbl>
            <c:dLbl>
              <c:idx val="1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BFDA-4C69-8E79-A083B7EFBA29}"/>
                </c:ext>
              </c:extLst>
            </c:dLbl>
            <c:dLbl>
              <c:idx val="1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BFDA-4C69-8E79-A083B7EFBA29}"/>
                </c:ext>
              </c:extLst>
            </c:dLbl>
            <c:dLbl>
              <c:idx val="2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BFDA-4C69-8E79-A083B7EFBA29}"/>
                </c:ext>
              </c:extLst>
            </c:dLbl>
            <c:dLbl>
              <c:idx val="2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BFDA-4C69-8E79-A083B7EFBA29}"/>
                </c:ext>
              </c:extLst>
            </c:dLbl>
            <c:dLbl>
              <c:idx val="2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BFDA-4C69-8E79-A083B7EFBA29}"/>
                </c:ext>
              </c:extLst>
            </c:dLbl>
            <c:dLbl>
              <c:idx val="2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BFDA-4C69-8E79-A083B7EFBA29}"/>
                </c:ext>
              </c:extLst>
            </c:dLbl>
            <c:dLbl>
              <c:idx val="2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BFDA-4C69-8E79-A083B7EFBA29}"/>
                </c:ext>
              </c:extLst>
            </c:dLbl>
            <c:dLbl>
              <c:idx val="2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BFDA-4C69-8E79-A083B7EFBA29}"/>
                </c:ext>
              </c:extLst>
            </c:dLbl>
            <c:dLbl>
              <c:idx val="2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BFDA-4C69-8E79-A083B7EFBA29}"/>
                </c:ext>
              </c:extLst>
            </c:dLbl>
            <c:dLbl>
              <c:idx val="2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BFDA-4C69-8E79-A083B7EFBA29}"/>
                </c:ext>
              </c:extLst>
            </c:dLbl>
            <c:dLbl>
              <c:idx val="2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BFDA-4C69-8E79-A083B7EFBA29}"/>
                </c:ext>
              </c:extLst>
            </c:dLbl>
            <c:dLbl>
              <c:idx val="2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BFDA-4C69-8E79-A083B7EFBA29}"/>
                </c:ext>
              </c:extLst>
            </c:dLbl>
            <c:dLbl>
              <c:idx val="3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BFDA-4C69-8E79-A083B7EFBA29}"/>
                </c:ext>
              </c:extLst>
            </c:dLbl>
            <c:dLbl>
              <c:idx val="3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8-BFDA-4C69-8E79-A083B7EFBA29}"/>
                </c:ext>
              </c:extLst>
            </c:dLbl>
            <c:dLbl>
              <c:idx val="3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BFDA-4C69-8E79-A083B7EFBA29}"/>
                </c:ext>
              </c:extLst>
            </c:dLbl>
            <c:dLbl>
              <c:idx val="3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A-BFDA-4C69-8E79-A083B7EFBA29}"/>
                </c:ext>
              </c:extLst>
            </c:dLbl>
            <c:dLbl>
              <c:idx val="3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B-BFDA-4C69-8E79-A083B7EFBA29}"/>
                </c:ext>
              </c:extLst>
            </c:dLbl>
            <c:dLbl>
              <c:idx val="3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BFDA-4C69-8E79-A083B7EFBA29}"/>
                </c:ext>
              </c:extLst>
            </c:dLbl>
            <c:dLbl>
              <c:idx val="3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D-BFDA-4C69-8E79-A083B7EFBA29}"/>
                </c:ext>
              </c:extLst>
            </c:dLbl>
            <c:dLbl>
              <c:idx val="3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E-BFDA-4C69-8E79-A083B7EFBA29}"/>
                </c:ext>
              </c:extLst>
            </c:dLbl>
            <c:dLbl>
              <c:idx val="3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BFDA-4C69-8E79-A083B7EFBA29}"/>
                </c:ext>
              </c:extLst>
            </c:dLbl>
            <c:dLbl>
              <c:idx val="39"/>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0-BFDA-4C69-8E79-A083B7EFBA29}"/>
                </c:ext>
              </c:extLst>
            </c:dLbl>
            <c:dLbl>
              <c:idx val="40"/>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1-BFDA-4C69-8E79-A083B7EFBA29}"/>
                </c:ext>
              </c:extLst>
            </c:dLbl>
            <c:dLbl>
              <c:idx val="41"/>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BFDA-4C69-8E79-A083B7EFBA29}"/>
                </c:ext>
              </c:extLst>
            </c:dLbl>
            <c:dLbl>
              <c:idx val="42"/>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3-BFDA-4C69-8E79-A083B7EFBA29}"/>
                </c:ext>
              </c:extLst>
            </c:dLbl>
            <c:dLbl>
              <c:idx val="43"/>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4-BFDA-4C69-8E79-A083B7EFBA29}"/>
                </c:ext>
              </c:extLst>
            </c:dLbl>
            <c:dLbl>
              <c:idx val="44"/>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BFDA-4C69-8E79-A083B7EFBA29}"/>
                </c:ext>
              </c:extLst>
            </c:dLbl>
            <c:dLbl>
              <c:idx val="45"/>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6-BFDA-4C69-8E79-A083B7EFBA29}"/>
                </c:ext>
              </c:extLst>
            </c:dLbl>
            <c:dLbl>
              <c:idx val="46"/>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7-BFDA-4C69-8E79-A083B7EFBA29}"/>
                </c:ext>
              </c:extLst>
            </c:dLbl>
            <c:dLbl>
              <c:idx val="47"/>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8-BFDA-4C69-8E79-A083B7EFBA29}"/>
                </c:ext>
              </c:extLst>
            </c:dLbl>
            <c:dLbl>
              <c:idx val="48"/>
              <c:tx>
                <c:rich>
                  <a:bodyPr/>
                  <a:lstStyle/>
                  <a:p>
                    <a:endParaRPr lang="en-CH"/>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9-BFDA-4C69-8E79-A083B7EFBA2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2"/>
                      </a:solidFill>
                      <a:round/>
                    </a:ln>
                    <a:effectLst/>
                  </c:spPr>
                </c15:leaderLines>
              </c:ext>
            </c:extLst>
          </c:dLbls>
          <c:xVal>
            <c:numRef>
              <c:f>Sheet1!$A$2:$A$50</c:f>
              <c:numCache>
                <c:formatCode>General</c:formatCode>
                <c:ptCount val="49"/>
                <c:pt idx="0">
                  <c:v>0.35859015489192997</c:v>
                </c:pt>
                <c:pt idx="1">
                  <c:v>0.28333992650001033</c:v>
                </c:pt>
                <c:pt idx="2">
                  <c:v>0.29342824352517333</c:v>
                </c:pt>
                <c:pt idx="3">
                  <c:v>0.3767079555953935</c:v>
                </c:pt>
                <c:pt idx="4">
                  <c:v>0.35576941510982935</c:v>
                </c:pt>
                <c:pt idx="5">
                  <c:v>0.33458705342225908</c:v>
                </c:pt>
                <c:pt idx="6">
                  <c:v>0.4394644526787459</c:v>
                </c:pt>
                <c:pt idx="7">
                  <c:v>0.36506810261934425</c:v>
                </c:pt>
                <c:pt idx="8">
                  <c:v>0.34846938884292439</c:v>
                </c:pt>
                <c:pt idx="9">
                  <c:v>0.38539975959105144</c:v>
                </c:pt>
                <c:pt idx="10">
                  <c:v>0.3543668689582149</c:v>
                </c:pt>
                <c:pt idx="11">
                  <c:v>0.37943822331480437</c:v>
                </c:pt>
              </c:numCache>
            </c:numRef>
          </c:xVal>
          <c:yVal>
            <c:numRef>
              <c:f>Sheet1!$B$2:$B$50</c:f>
              <c:numCache>
                <c:formatCode>General</c:formatCode>
                <c:ptCount val="49"/>
                <c:pt idx="0">
                  <c:v>5592.9191919191917</c:v>
                </c:pt>
                <c:pt idx="1">
                  <c:v>1875.4545454545455</c:v>
                </c:pt>
                <c:pt idx="2">
                  <c:v>1048.1805555555557</c:v>
                </c:pt>
                <c:pt idx="3">
                  <c:v>5233.26</c:v>
                </c:pt>
                <c:pt idx="4">
                  <c:v>12126.54</c:v>
                </c:pt>
                <c:pt idx="5">
                  <c:v>2844.2033898305085</c:v>
                </c:pt>
                <c:pt idx="6">
                  <c:v>4225.3</c:v>
                </c:pt>
                <c:pt idx="7">
                  <c:v>2343.6853932584268</c:v>
                </c:pt>
                <c:pt idx="8">
                  <c:v>3179.5444444444443</c:v>
                </c:pt>
                <c:pt idx="9">
                  <c:v>2054.3978494623657</c:v>
                </c:pt>
                <c:pt idx="10">
                  <c:v>6490.878787878788</c:v>
                </c:pt>
                <c:pt idx="11">
                  <c:v>3185.806818181818</c:v>
                </c:pt>
              </c:numCache>
            </c:numRef>
          </c:yVal>
          <c:bubbleSize>
            <c:numRef>
              <c:f>Sheet1!$C$2:$C$50</c:f>
              <c:numCache>
                <c:formatCode>General</c:formatCode>
                <c:ptCount val="49"/>
                <c:pt idx="0">
                  <c:v>341488.45175624354</c:v>
                </c:pt>
                <c:pt idx="1">
                  <c:v>113728.4408946522</c:v>
                </c:pt>
                <c:pt idx="2">
                  <c:v>51273.33066288336</c:v>
                </c:pt>
                <c:pt idx="3">
                  <c:v>313639.35810585105</c:v>
                </c:pt>
                <c:pt idx="4">
                  <c:v>751181.53431673557</c:v>
                </c:pt>
                <c:pt idx="5">
                  <c:v>107366.93821088226</c:v>
                </c:pt>
                <c:pt idx="6">
                  <c:v>204960.36185450436</c:v>
                </c:pt>
                <c:pt idx="7">
                  <c:v>127345.36020272713</c:v>
                </c:pt>
                <c:pt idx="8">
                  <c:v>179270.52707509385</c:v>
                </c:pt>
                <c:pt idx="9">
                  <c:v>112908.5647425897</c:v>
                </c:pt>
                <c:pt idx="10">
                  <c:v>398924.91645005572</c:v>
                </c:pt>
                <c:pt idx="11">
                  <c:v>167283.76409179933</c:v>
                </c:pt>
              </c:numCache>
            </c:numRef>
          </c:bubbleSize>
          <c:bubble3D val="0"/>
          <c:extLst>
            <c:ext xmlns:c15="http://schemas.microsoft.com/office/drawing/2012/chart" uri="{02D57815-91ED-43cb-92C2-25804820EDAC}">
              <c15:datalabelsRange>
                <c15:f>Sheet1!$E$2:$E$50</c15:f>
                <c15:dlblRangeCache>
                  <c:ptCount val="49"/>
                  <c:pt idx="0">
                    <c:v>Findus Merluzzo Altro Findus Fish Bar 245GR</c:v>
                  </c:pt>
                  <c:pt idx="1">
                    <c:v>Findus Merluzzo D Alaska Chips Findus Big Burger 227GR</c:v>
                  </c:pt>
                  <c:pt idx="2">
                    <c:v>Findus Merluzzo D Alaska Standard Findus Big Burger 227GR</c:v>
                  </c:pt>
                  <c:pt idx="3">
                    <c:v>Findus Merluzzo E Spinaci Filetto Findus Croccole 300GR</c:v>
                  </c:pt>
                  <c:pt idx="4">
                    <c:v>Findus Merluzzo Filetto Findus Croccole 300GR</c:v>
                  </c:pt>
                  <c:pt idx="5">
                    <c:v>Findus Merluzzo Filetto Findus Croccole 600GR</c:v>
                  </c:pt>
                  <c:pt idx="6">
                    <c:v>Findus Merluzzo Filetto Findus Fish &amp; Crock 250GR</c:v>
                  </c:pt>
                  <c:pt idx="7">
                    <c:v>Findus Merluzzo Filetto Findus Fish Bar 240GR</c:v>
                  </c:pt>
                  <c:pt idx="8">
                    <c:v>Findus Merluzzo Semi Filetto Findus Croccole 300GR</c:v>
                  </c:pt>
                  <c:pt idx="9">
                    <c:v>Findus Merluzzo Senza Glutine Filetto Findus Croccole 250GR</c:v>
                  </c:pt>
                  <c:pt idx="10">
                    <c:v>Findus Platessa Filetto Findus Platessa 250GR</c:v>
                  </c:pt>
                  <c:pt idx="11">
                    <c:v>Findus Salmone Altro Findus Fish Bar 220GR</c:v>
                  </c:pt>
                </c15:dlblRangeCache>
              </c15:datalabelsRange>
            </c:ext>
            <c:ext xmlns:c16="http://schemas.microsoft.com/office/drawing/2014/chart" uri="{C3380CC4-5D6E-409C-BE32-E72D297353CC}">
              <c16:uniqueId val="{0000003A-BFDA-4C69-8E79-A083B7EFBA29}"/>
            </c:ext>
          </c:extLst>
        </c:ser>
        <c:dLbls>
          <c:showLegendKey val="0"/>
          <c:showVal val="0"/>
          <c:showCatName val="0"/>
          <c:showSerName val="0"/>
          <c:showPercent val="0"/>
          <c:showBubbleSize val="0"/>
        </c:dLbls>
        <c:bubbleScale val="100"/>
        <c:showNegBubbles val="0"/>
        <c:axId val="1888455568"/>
        <c:axId val="2038086528"/>
      </c:bubbleChart>
      <c:valAx>
        <c:axId val="1888455568"/>
        <c:scaling>
          <c:orientation val="minMax"/>
        </c:scaling>
        <c:delete val="0"/>
        <c:axPos val="b"/>
        <c:title>
          <c:tx>
            <c:rich>
              <a:bodyPr/>
              <a:lstStyle/>
              <a:p>
                <a:pPr>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Trade Margin</a:t>
                </a:r>
              </a:p>
            </c:rich>
          </c:tx>
          <c:layout>
            <c:manualLayout>
              <c:xMode val="edge"/>
              <c:yMode val="edge"/>
              <c:x val="0.88179061728395058"/>
              <c:y val="0.93611703640795996"/>
            </c:manualLayout>
          </c:layout>
          <c:overlay val="0"/>
        </c:title>
        <c:numFmt formatCode="#,##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2038086528"/>
        <c:crosses val="autoZero"/>
        <c:crossBetween val="midCat"/>
        <c:majorUnit val="5.000000000000001E-2"/>
      </c:valAx>
      <c:valAx>
        <c:axId val="2038086528"/>
        <c:scaling>
          <c:orientation val="minMax"/>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888455568"/>
        <c:crossesAt val="0"/>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latin typeface="Nexa Book" panose="00000400000000000000" pitchFamily="2" charset="0"/>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386189843167"/>
          <c:y val="2.1518383347152597E-2"/>
          <c:w val="0.83615888760500756"/>
          <c:h val="0.91747348995938804"/>
        </c:manualLayout>
      </c:layout>
      <c:bubbleChart>
        <c:varyColors val="0"/>
        <c:ser>
          <c:idx val="0"/>
          <c:order val="0"/>
          <c:tx>
            <c:strRef>
              <c:f>Sheet1!$B$1</c:f>
              <c:strCache>
                <c:ptCount val="1"/>
                <c:pt idx="0">
                  <c:v>Value RoS</c:v>
                </c:pt>
              </c:strCache>
            </c:strRef>
          </c:tx>
          <c:spPr>
            <a:solidFill>
              <a:schemeClr val="accent2">
                <a:lumMod val="60000"/>
                <a:lumOff val="4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FF3F-4C73-9960-6C006477A669}"/>
              </c:ext>
            </c:extLst>
          </c:dPt>
          <c:dPt>
            <c:idx val="1"/>
            <c:invertIfNegative val="0"/>
            <c:bubble3D val="0"/>
            <c:extLst>
              <c:ext xmlns:c16="http://schemas.microsoft.com/office/drawing/2014/chart" uri="{C3380CC4-5D6E-409C-BE32-E72D297353CC}">
                <c16:uniqueId val="{00000001-FF3F-4C73-9960-6C006477A669}"/>
              </c:ext>
            </c:extLst>
          </c:dPt>
          <c:dPt>
            <c:idx val="2"/>
            <c:invertIfNegative val="0"/>
            <c:bubble3D val="0"/>
            <c:extLst>
              <c:ext xmlns:c16="http://schemas.microsoft.com/office/drawing/2014/chart" uri="{C3380CC4-5D6E-409C-BE32-E72D297353CC}">
                <c16:uniqueId val="{00000002-FF3F-4C73-9960-6C006477A669}"/>
              </c:ext>
            </c:extLst>
          </c:dPt>
          <c:dPt>
            <c:idx val="3"/>
            <c:invertIfNegative val="0"/>
            <c:bubble3D val="0"/>
            <c:extLst>
              <c:ext xmlns:c16="http://schemas.microsoft.com/office/drawing/2014/chart" uri="{C3380CC4-5D6E-409C-BE32-E72D297353CC}">
                <c16:uniqueId val="{00000003-FF3F-4C73-9960-6C006477A669}"/>
              </c:ext>
            </c:extLst>
          </c:dPt>
          <c:dPt>
            <c:idx val="4"/>
            <c:invertIfNegative val="0"/>
            <c:bubble3D val="0"/>
            <c:extLst>
              <c:ext xmlns:c16="http://schemas.microsoft.com/office/drawing/2014/chart" uri="{C3380CC4-5D6E-409C-BE32-E72D297353CC}">
                <c16:uniqueId val="{00000004-FF3F-4C73-9960-6C006477A669}"/>
              </c:ext>
            </c:extLst>
          </c:dPt>
          <c:dPt>
            <c:idx val="5"/>
            <c:invertIfNegative val="0"/>
            <c:bubble3D val="0"/>
            <c:extLst>
              <c:ext xmlns:c16="http://schemas.microsoft.com/office/drawing/2014/chart" uri="{C3380CC4-5D6E-409C-BE32-E72D297353CC}">
                <c16:uniqueId val="{00000005-FF3F-4C73-9960-6C006477A669}"/>
              </c:ext>
            </c:extLst>
          </c:dPt>
          <c:dPt>
            <c:idx val="6"/>
            <c:invertIfNegative val="0"/>
            <c:bubble3D val="0"/>
            <c:extLst>
              <c:ext xmlns:c16="http://schemas.microsoft.com/office/drawing/2014/chart" uri="{C3380CC4-5D6E-409C-BE32-E72D297353CC}">
                <c16:uniqueId val="{00000006-FF3F-4C73-9960-6C006477A669}"/>
              </c:ext>
            </c:extLst>
          </c:dPt>
          <c:dPt>
            <c:idx val="7"/>
            <c:invertIfNegative val="0"/>
            <c:bubble3D val="0"/>
            <c:extLst>
              <c:ext xmlns:c16="http://schemas.microsoft.com/office/drawing/2014/chart" uri="{C3380CC4-5D6E-409C-BE32-E72D297353CC}">
                <c16:uniqueId val="{00000007-FF3F-4C73-9960-6C006477A669}"/>
              </c:ext>
            </c:extLst>
          </c:dPt>
          <c:dPt>
            <c:idx val="9"/>
            <c:invertIfNegative val="0"/>
            <c:bubble3D val="0"/>
            <c:extLst>
              <c:ext xmlns:c16="http://schemas.microsoft.com/office/drawing/2014/chart" uri="{C3380CC4-5D6E-409C-BE32-E72D297353CC}">
                <c16:uniqueId val="{00000008-FF3F-4C73-9960-6C006477A669}"/>
              </c:ext>
            </c:extLst>
          </c:dPt>
          <c:dPt>
            <c:idx val="10"/>
            <c:invertIfNegative val="0"/>
            <c:bubble3D val="0"/>
            <c:extLst>
              <c:ext xmlns:c16="http://schemas.microsoft.com/office/drawing/2014/chart" uri="{C3380CC4-5D6E-409C-BE32-E72D297353CC}">
                <c16:uniqueId val="{00000009-FF3F-4C73-9960-6C006477A669}"/>
              </c:ext>
            </c:extLst>
          </c:dPt>
          <c:dLbls>
            <c:dLbl>
              <c:idx val="0"/>
              <c:tx>
                <c:rich>
                  <a:bodyPr/>
                  <a:lstStyle/>
                  <a:p>
                    <a:pPr>
                      <a:defRPr/>
                    </a:pPr>
                    <a:fld id="{143EE2A9-4067-47D9-9269-87B324ED1007}"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51733373540548"/>
                      <c:h val="0.10737466194920803"/>
                    </c:manualLayout>
                  </c15:layout>
                  <c15:dlblFieldTable/>
                  <c15:showDataLabelsRange val="1"/>
                </c:ext>
                <c:ext xmlns:c16="http://schemas.microsoft.com/office/drawing/2014/chart" uri="{C3380CC4-5D6E-409C-BE32-E72D297353CC}">
                  <c16:uniqueId val="{00000000-FF3F-4C73-9960-6C006477A669}"/>
                </c:ext>
              </c:extLst>
            </c:dLbl>
            <c:dLbl>
              <c:idx val="1"/>
              <c:tx>
                <c:rich>
                  <a:bodyPr/>
                  <a:lstStyle/>
                  <a:p>
                    <a:pPr>
                      <a:defRPr/>
                    </a:pPr>
                    <a:fld id="{E91BB796-57D2-4482-90CE-246EB367D2B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26862395250195"/>
                      <c:h val="0.1192937138042138"/>
                    </c:manualLayout>
                  </c15:layout>
                  <c15:dlblFieldTable/>
                  <c15:showDataLabelsRange val="1"/>
                </c:ext>
                <c:ext xmlns:c16="http://schemas.microsoft.com/office/drawing/2014/chart" uri="{C3380CC4-5D6E-409C-BE32-E72D297353CC}">
                  <c16:uniqueId val="{00000001-FF3F-4C73-9960-6C006477A669}"/>
                </c:ext>
              </c:extLst>
            </c:dLbl>
            <c:dLbl>
              <c:idx val="2"/>
              <c:tx>
                <c:rich>
                  <a:bodyPr/>
                  <a:lstStyle/>
                  <a:p>
                    <a:pPr>
                      <a:defRPr/>
                    </a:pPr>
                    <a:fld id="{9335F4AD-FBC8-45B7-9C49-BDC6258999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7207470440513087"/>
                      <c:h val="8.7611958217297919E-2"/>
                    </c:manualLayout>
                  </c15:layout>
                  <c15:dlblFieldTable/>
                  <c15:showDataLabelsRange val="1"/>
                </c:ext>
                <c:ext xmlns:c16="http://schemas.microsoft.com/office/drawing/2014/chart" uri="{C3380CC4-5D6E-409C-BE32-E72D297353CC}">
                  <c16:uniqueId val="{00000002-FF3F-4C73-9960-6C006477A669}"/>
                </c:ext>
              </c:extLst>
            </c:dLbl>
            <c:dLbl>
              <c:idx val="3"/>
              <c:tx>
                <c:rich>
                  <a:bodyPr/>
                  <a:lstStyle/>
                  <a:p>
                    <a:pPr>
                      <a:defRPr/>
                    </a:pPr>
                    <a:fld id="{1B45546F-2A03-4A84-A088-CA52B0CFCC24}"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557158785550534"/>
                      <c:h val="6.4393026032221704E-2"/>
                    </c:manualLayout>
                  </c15:layout>
                  <c15:dlblFieldTable/>
                  <c15:showDataLabelsRange val="1"/>
                </c:ext>
                <c:ext xmlns:c16="http://schemas.microsoft.com/office/drawing/2014/chart" uri="{C3380CC4-5D6E-409C-BE32-E72D297353CC}">
                  <c16:uniqueId val="{00000003-FF3F-4C73-9960-6C006477A669}"/>
                </c:ext>
              </c:extLst>
            </c:dLbl>
            <c:dLbl>
              <c:idx val="4"/>
              <c:tx>
                <c:rich>
                  <a:bodyPr/>
                  <a:lstStyle/>
                  <a:p>
                    <a:fld id="{83CC3B94-880B-4DA3-B40F-2973CB183268}"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8198115511843097"/>
                      <c:h val="7.9872314155605834E-2"/>
                    </c:manualLayout>
                  </c15:layout>
                  <c15:dlblFieldTable/>
                  <c15:showDataLabelsRange val="1"/>
                </c:ext>
                <c:ext xmlns:c16="http://schemas.microsoft.com/office/drawing/2014/chart" uri="{C3380CC4-5D6E-409C-BE32-E72D297353CC}">
                  <c16:uniqueId val="{00000004-FF3F-4C73-9960-6C006477A669}"/>
                </c:ext>
              </c:extLst>
            </c:dLbl>
            <c:dLbl>
              <c:idx val="5"/>
              <c:tx>
                <c:rich>
                  <a:bodyPr/>
                  <a:lstStyle/>
                  <a:p>
                    <a:pPr>
                      <a:defRPr/>
                    </a:pPr>
                    <a:fld id="{80E6DAA1-7D5C-463C-8F16-0AF4FBDD6B7A}"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9053511313732086"/>
                      <c:h val="0.12027406871869481"/>
                    </c:manualLayout>
                  </c15:layout>
                  <c15:dlblFieldTable/>
                  <c15:showDataLabelsRange val="1"/>
                </c:ext>
                <c:ext xmlns:c16="http://schemas.microsoft.com/office/drawing/2014/chart" uri="{C3380CC4-5D6E-409C-BE32-E72D297353CC}">
                  <c16:uniqueId val="{00000005-FF3F-4C73-9960-6C006477A669}"/>
                </c:ext>
              </c:extLst>
            </c:dLbl>
            <c:dLbl>
              <c:idx val="6"/>
              <c:tx>
                <c:rich>
                  <a:bodyPr/>
                  <a:lstStyle/>
                  <a:p>
                    <a:pPr>
                      <a:defRPr/>
                    </a:pPr>
                    <a:fld id="{5B241715-2B9D-478F-BA0F-6AF8D7E4919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6905968261343199"/>
                      <c:h val="7.1256322994645002E-2"/>
                    </c:manualLayout>
                  </c15:layout>
                  <c15:dlblFieldTable/>
                  <c15:showDataLabelsRange val="1"/>
                </c:ext>
                <c:ext xmlns:c16="http://schemas.microsoft.com/office/drawing/2014/chart" uri="{C3380CC4-5D6E-409C-BE32-E72D297353CC}">
                  <c16:uniqueId val="{00000006-FF3F-4C73-9960-6C006477A669}"/>
                </c:ext>
              </c:extLst>
            </c:dLbl>
            <c:dLbl>
              <c:idx val="7"/>
              <c:tx>
                <c:rich>
                  <a:bodyPr/>
                  <a:lstStyle/>
                  <a:p>
                    <a:fld id="{236C8D1B-1574-4FA3-B9CC-8B23D65AD5E4}"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F3F-4C73-9960-6C006477A669}"/>
                </c:ext>
              </c:extLst>
            </c:dLbl>
            <c:dLbl>
              <c:idx val="8"/>
              <c:tx>
                <c:rich>
                  <a:bodyPr/>
                  <a:lstStyle/>
                  <a:p>
                    <a:pPr>
                      <a:defRPr/>
                    </a:pPr>
                    <a:fld id="{ED16F6CA-A355-46FA-8F8E-F54AE6CB2E28}"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8395337440262599"/>
                      <c:h val="6.1813144678324342E-2"/>
                    </c:manualLayout>
                  </c15:layout>
                  <c15:dlblFieldTable/>
                  <c15:showDataLabelsRange val="1"/>
                </c:ext>
                <c:ext xmlns:c16="http://schemas.microsoft.com/office/drawing/2014/chart" uri="{C3380CC4-5D6E-409C-BE32-E72D297353CC}">
                  <c16:uniqueId val="{0000000A-FF3F-4C73-9960-6C006477A669}"/>
                </c:ext>
              </c:extLst>
            </c:dLbl>
            <c:dLbl>
              <c:idx val="9"/>
              <c:tx>
                <c:rich>
                  <a:bodyPr/>
                  <a:lstStyle/>
                  <a:p>
                    <a:pPr>
                      <a:defRPr/>
                    </a:pPr>
                    <a:fld id="{DFAE0EFC-FA1A-465D-B148-5034DA83653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20543884518970126"/>
                      <c:h val="6.8676441640747654E-2"/>
                    </c:manualLayout>
                  </c15:layout>
                  <c15:dlblFieldTable/>
                  <c15:showDataLabelsRange val="1"/>
                </c:ext>
                <c:ext xmlns:c16="http://schemas.microsoft.com/office/drawing/2014/chart" uri="{C3380CC4-5D6E-409C-BE32-E72D297353CC}">
                  <c16:uniqueId val="{00000008-FF3F-4C73-9960-6C006477A669}"/>
                </c:ext>
              </c:extLst>
            </c:dLbl>
            <c:dLbl>
              <c:idx val="10"/>
              <c:tx>
                <c:rich>
                  <a:bodyPr/>
                  <a:lstStyle/>
                  <a:p>
                    <a:fld id="{D2849171-4207-4A54-B693-468AB7B33615}" type="CELLRANGE">
                      <a:rPr lang="en-US">
                        <a:solidFill>
                          <a:schemeClr val="tx1"/>
                        </a:solidFill>
                      </a:rPr>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layout>
                    <c:manualLayout>
                      <c:w val="0.16609867051335692"/>
                      <c:h val="7.9872314155605834E-2"/>
                    </c:manualLayout>
                  </c15:layout>
                  <c15:dlblFieldTable/>
                  <c15:showDataLabelsRange val="1"/>
                </c:ext>
                <c:ext xmlns:c16="http://schemas.microsoft.com/office/drawing/2014/chart" uri="{C3380CC4-5D6E-409C-BE32-E72D297353CC}">
                  <c16:uniqueId val="{00000009-FF3F-4C73-9960-6C006477A669}"/>
                </c:ext>
              </c:extLst>
            </c:dLbl>
            <c:dLbl>
              <c:idx val="11"/>
              <c:tx>
                <c:rich>
                  <a:bodyPr/>
                  <a:lstStyle/>
                  <a:p>
                    <a:pPr>
                      <a:defRPr/>
                    </a:pPr>
                    <a:fld id="{BE4598E7-964E-40CA-B077-204483775372}"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3117344191127833"/>
                      <c:h val="9.9635017887515942E-2"/>
                    </c:manualLayout>
                  </c15:layout>
                  <c15:dlblFieldTable/>
                  <c15:showDataLabelsRange val="1"/>
                </c:ext>
                <c:ext xmlns:c16="http://schemas.microsoft.com/office/drawing/2014/chart" uri="{C3380CC4-5D6E-409C-BE32-E72D297353CC}">
                  <c16:uniqueId val="{0000000B-FF3F-4C73-9960-6C006477A669}"/>
                </c:ext>
              </c:extLst>
            </c:dLbl>
            <c:dLbl>
              <c:idx val="12"/>
              <c:tx>
                <c:rich>
                  <a:bodyPr/>
                  <a:lstStyle/>
                  <a:p>
                    <a:fld id="{E85A0F66-9889-4CAB-94C6-FB64AF6161C6}"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FF3F-4C73-9960-6C006477A669}"/>
                </c:ext>
              </c:extLst>
            </c:dLbl>
            <c:dLbl>
              <c:idx val="13"/>
              <c:tx>
                <c:rich>
                  <a:bodyPr/>
                  <a:lstStyle/>
                  <a:p>
                    <a:fld id="{0F4E7557-90C1-4496-A985-BAA934CED2A5}"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FF3F-4C73-9960-6C006477A669}"/>
                </c:ext>
              </c:extLst>
            </c:dLbl>
            <c:dLbl>
              <c:idx val="14"/>
              <c:tx>
                <c:rich>
                  <a:bodyPr/>
                  <a:lstStyle/>
                  <a:p>
                    <a:fld id="{1A920FCE-4AEF-4DB2-BD77-6FABF447241D}" type="CELLRANGE">
                      <a:rPr lang="en-US"/>
                      <a:pPr/>
                      <a:t>[CELLRANGE]</a:t>
                    </a:fld>
                    <a:endParaRPr lang="en-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FF3F-4C73-9960-6C006477A669}"/>
                </c:ext>
              </c:extLst>
            </c:dLbl>
            <c:dLbl>
              <c:idx val="15"/>
              <c:tx>
                <c:rich>
                  <a:bodyPr/>
                  <a:lstStyle/>
                  <a:p>
                    <a:pPr>
                      <a:defRPr/>
                    </a:pPr>
                    <a:fld id="{4334CA7D-D680-4F9B-B20F-03F3B36519E1}"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125082233887424"/>
                      <c:h val="9.705513653361858E-2"/>
                    </c:manualLayout>
                  </c15:layout>
                  <c15:dlblFieldTable/>
                  <c15:showDataLabelsRange val="1"/>
                </c:ext>
                <c:ext xmlns:c16="http://schemas.microsoft.com/office/drawing/2014/chart" uri="{C3380CC4-5D6E-409C-BE32-E72D297353CC}">
                  <c16:uniqueId val="{0000000F-FF3F-4C73-9960-6C006477A669}"/>
                </c:ext>
              </c:extLst>
            </c:dLbl>
            <c:dLbl>
              <c:idx val="16"/>
              <c:tx>
                <c:rich>
                  <a:bodyPr/>
                  <a:lstStyle/>
                  <a:p>
                    <a:pPr>
                      <a:defRPr/>
                    </a:pPr>
                    <a:fld id="{F47B003E-0D49-44BB-90BE-7F89BED0D573}"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0.10683653204055261"/>
                      <c:h val="0.10995454330310539"/>
                    </c:manualLayout>
                  </c15:layout>
                  <c15:dlblFieldTable/>
                  <c15:showDataLabelsRange val="1"/>
                </c:ext>
                <c:ext xmlns:c16="http://schemas.microsoft.com/office/drawing/2014/chart" uri="{C3380CC4-5D6E-409C-BE32-E72D297353CC}">
                  <c16:uniqueId val="{00000010-FF3F-4C73-9960-6C006477A669}"/>
                </c:ext>
              </c:extLst>
            </c:dLbl>
            <c:dLbl>
              <c:idx val="17"/>
              <c:tx>
                <c:rich>
                  <a:bodyPr/>
                  <a:lstStyle/>
                  <a:p>
                    <a:pPr>
                      <a:defRPr/>
                    </a:pPr>
                    <a:fld id="{290D84D7-50ED-4CF7-B649-6E3BD4805C5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8.983214818011119E-2"/>
                      <c:h val="0.12543383142648953"/>
                    </c:manualLayout>
                  </c15:layout>
                  <c15:dlblFieldTable/>
                  <c15:showDataLabelsRange val="1"/>
                </c:ext>
                <c:ext xmlns:c16="http://schemas.microsoft.com/office/drawing/2014/chart" uri="{C3380CC4-5D6E-409C-BE32-E72D297353CC}">
                  <c16:uniqueId val="{00000011-FF3F-4C73-9960-6C006477A669}"/>
                </c:ext>
              </c:extLst>
            </c:dLbl>
            <c:dLbl>
              <c:idx val="18"/>
              <c:tx>
                <c:rich>
                  <a:bodyPr/>
                  <a:lstStyle/>
                  <a:p>
                    <a:pPr>
                      <a:defRPr/>
                    </a:pPr>
                    <a:fld id="{B3F43FD5-1FE7-4BDC-89A4-6D6CAF2F628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7.9054088614900792E-2"/>
                      <c:h val="0.10995454330310539"/>
                    </c:manualLayout>
                  </c15:layout>
                  <c15:dlblFieldTable/>
                  <c15:showDataLabelsRange val="1"/>
                </c:ext>
                <c:ext xmlns:c16="http://schemas.microsoft.com/office/drawing/2014/chart" uri="{C3380CC4-5D6E-409C-BE32-E72D297353CC}">
                  <c16:uniqueId val="{00000012-FF3F-4C73-9960-6C006477A669}"/>
                </c:ext>
              </c:extLst>
            </c:dLbl>
            <c:dLbl>
              <c:idx val="19"/>
              <c:tx>
                <c:rich>
                  <a:bodyPr/>
                  <a:lstStyle/>
                  <a:p>
                    <a:pPr>
                      <a:defRPr/>
                    </a:pPr>
                    <a:fld id="{796999C4-53F2-4E5C-999C-E3357A15D025}" type="CELLRANGE">
                      <a:rPr lang="en-US"/>
                      <a:pPr>
                        <a:defRPr/>
                      </a:pPr>
                      <a:t>[CELLRANGE]</a:t>
                    </a:fld>
                    <a:endParaRPr lang="en-CH"/>
                  </a:p>
                </c:rich>
              </c:tx>
              <c:spPr>
                <a:noFill/>
                <a:ln>
                  <a:noFill/>
                </a:ln>
                <a:effectLst/>
              </c:spPr>
              <c:dLblPos val="ctr"/>
              <c:showLegendKey val="0"/>
              <c:showVal val="0"/>
              <c:showCatName val="0"/>
              <c:showSerName val="0"/>
              <c:showPercent val="0"/>
              <c:showBubbleSize val="0"/>
              <c:extLst>
                <c:ext xmlns:c15="http://schemas.microsoft.com/office/drawing/2012/chart" uri="{CE6537A1-D6FC-4f65-9D91-7224C49458BB}">
                  <c15:layout>
                    <c:manualLayout>
                      <c:w val="9.9508800198511757E-2"/>
                      <c:h val="9.9635017887515942E-2"/>
                    </c:manualLayout>
                  </c15:layout>
                  <c15:dlblFieldTable/>
                  <c15:showDataLabelsRange val="1"/>
                </c:ext>
                <c:ext xmlns:c16="http://schemas.microsoft.com/office/drawing/2014/chart" uri="{C3380CC4-5D6E-409C-BE32-E72D297353CC}">
                  <c16:uniqueId val="{00000013-FF3F-4C73-9960-6C006477A669}"/>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3</c:f>
              <c:numCache>
                <c:formatCode>0.0%</c:formatCode>
                <c:ptCount val="12"/>
                <c:pt idx="0">
                  <c:v>0.96640114543670197</c:v>
                </c:pt>
                <c:pt idx="1">
                  <c:v>0.31760379459836346</c:v>
                </c:pt>
                <c:pt idx="2">
                  <c:v>0.97270363436954754</c:v>
                </c:pt>
                <c:pt idx="3">
                  <c:v>0.81012779287138692</c:v>
                </c:pt>
                <c:pt idx="4">
                  <c:v>0.2420021307294101</c:v>
                </c:pt>
                <c:pt idx="5">
                  <c:v>0.76993063254332916</c:v>
                </c:pt>
                <c:pt idx="6">
                  <c:v>0.79031018568390732</c:v>
                </c:pt>
                <c:pt idx="7">
                  <c:v>0.66343657305424619</c:v>
                </c:pt>
                <c:pt idx="8">
                  <c:v>0.65719833680962292</c:v>
                </c:pt>
                <c:pt idx="9">
                  <c:v>0.68021394660792456</c:v>
                </c:pt>
                <c:pt idx="10">
                  <c:v>0.60950693801799749</c:v>
                </c:pt>
                <c:pt idx="11">
                  <c:v>0.64559371129998133</c:v>
                </c:pt>
              </c:numCache>
            </c:numRef>
          </c:xVal>
          <c:yVal>
            <c:numRef>
              <c:f>Sheet1!$B$2:$B$13</c:f>
              <c:numCache>
                <c:formatCode>_(* #,##0.00_);_(* \(#,##0.00\);_(* "-"??_);_(@_)</c:formatCode>
                <c:ptCount val="12"/>
                <c:pt idx="0">
                  <c:v>43765.780079748765</c:v>
                </c:pt>
                <c:pt idx="1">
                  <c:v>31260.016942036742</c:v>
                </c:pt>
                <c:pt idx="2">
                  <c:v>27269.354264510413</c:v>
                </c:pt>
                <c:pt idx="3">
                  <c:v>17950.871613052677</c:v>
                </c:pt>
                <c:pt idx="4">
                  <c:v>16695.307548831384</c:v>
                </c:pt>
                <c:pt idx="5">
                  <c:v>15916.498814340073</c:v>
                </c:pt>
                <c:pt idx="6">
                  <c:v>9178.2949674663469</c:v>
                </c:pt>
                <c:pt idx="7">
                  <c:v>6673.8859143931568</c:v>
                </c:pt>
                <c:pt idx="8">
                  <c:v>6667.0893010328191</c:v>
                </c:pt>
                <c:pt idx="9">
                  <c:v>6307.7213006235279</c:v>
                </c:pt>
                <c:pt idx="10">
                  <c:v>5716.7519886330037</c:v>
                </c:pt>
                <c:pt idx="11">
                  <c:v>4097.4686613247331</c:v>
                </c:pt>
              </c:numCache>
            </c:numRef>
          </c:yVal>
          <c:bubbleSize>
            <c:numRef>
              <c:f>Sheet1!$C$2:$C$13</c:f>
              <c:numCache>
                <c:formatCode>#,##0</c:formatCode>
                <c:ptCount val="12"/>
                <c:pt idx="0">
                  <c:v>422953</c:v>
                </c:pt>
                <c:pt idx="1">
                  <c:v>99283</c:v>
                </c:pt>
                <c:pt idx="2">
                  <c:v>265250</c:v>
                </c:pt>
                <c:pt idx="3">
                  <c:v>145425</c:v>
                </c:pt>
                <c:pt idx="4">
                  <c:v>40403</c:v>
                </c:pt>
                <c:pt idx="5">
                  <c:v>122546</c:v>
                </c:pt>
                <c:pt idx="6">
                  <c:v>72537</c:v>
                </c:pt>
                <c:pt idx="7">
                  <c:v>44277</c:v>
                </c:pt>
                <c:pt idx="8">
                  <c:v>43816</c:v>
                </c:pt>
                <c:pt idx="9">
                  <c:v>42906</c:v>
                </c:pt>
                <c:pt idx="10">
                  <c:v>34844</c:v>
                </c:pt>
                <c:pt idx="11">
                  <c:v>26453</c:v>
                </c:pt>
              </c:numCache>
            </c:numRef>
          </c:bubbleSize>
          <c:bubble3D val="0"/>
          <c:extLst>
            <c:ext xmlns:c15="http://schemas.microsoft.com/office/drawing/2012/chart" uri="{02D57815-91ED-43cb-92C2-25804820EDAC}">
              <c15:datalabelsRange>
                <c15:f>Sheet1!$E$2:$E$21</c15:f>
                <c15:dlblRangeCache>
                  <c:ptCount val="20"/>
                  <c:pt idx="0">
                    <c:v>MBY Original 12p</c:v>
                  </c:pt>
                  <c:pt idx="1">
                    <c:v>MBY Original 18p</c:v>
                  </c:pt>
                  <c:pt idx="2">
                    <c:v>MBY Original 6p</c:v>
                  </c:pt>
                  <c:pt idx="3">
                    <c:v>MBY Variety 12p</c:v>
                  </c:pt>
                  <c:pt idx="4">
                    <c:v>MBY Variety 18p</c:v>
                  </c:pt>
                  <c:pt idx="5">
                    <c:v>MBY Light 12p</c:v>
                  </c:pt>
                  <c:pt idx="6">
                    <c:v>MBY Light 6p</c:v>
                  </c:pt>
                  <c:pt idx="7">
                    <c:v>MBY Gouda 6p</c:v>
                  </c:pt>
                  <c:pt idx="8">
                    <c:v>MBY Swiss 6p</c:v>
                  </c:pt>
                  <c:pt idx="9">
                    <c:v>MBY Cheddar 6p</c:v>
                  </c:pt>
                  <c:pt idx="10">
                    <c:v>MBY Mini Roll</c:v>
                  </c:pt>
                  <c:pt idx="11">
                    <c:v>MBY 2Go</c:v>
                  </c:pt>
                </c15:dlblRangeCache>
              </c15:datalabelsRange>
            </c:ext>
            <c:ext xmlns:c16="http://schemas.microsoft.com/office/drawing/2014/chart" uri="{C3380CC4-5D6E-409C-BE32-E72D297353CC}">
              <c16:uniqueId val="{00000014-FF3F-4C73-9960-6C006477A669}"/>
            </c:ext>
          </c:extLst>
        </c:ser>
        <c:dLbls>
          <c:dLblPos val="ctr"/>
          <c:showLegendKey val="0"/>
          <c:showVal val="1"/>
          <c:showCatName val="0"/>
          <c:showSerName val="0"/>
          <c:showPercent val="0"/>
          <c:showBubbleSize val="0"/>
        </c:dLbls>
        <c:bubbleScale val="100"/>
        <c:showNegBubbles val="0"/>
        <c:axId val="1004145631"/>
        <c:axId val="1011451359"/>
      </c:bubbleChart>
      <c:valAx>
        <c:axId val="1004145631"/>
        <c:scaling>
          <c:orientation val="minMax"/>
        </c:scaling>
        <c:delete val="0"/>
        <c:axPos val="b"/>
        <c:title>
          <c:tx>
            <c:rich>
              <a:bodyPr rot="0" vert="horz"/>
              <a:lstStyle/>
              <a:p>
                <a:pPr algn="ctr" rtl="0">
                  <a:defRPr sz="800" b="0">
                    <a:solidFill>
                      <a:schemeClr val="tx2"/>
                    </a:solidFill>
                    <a:latin typeface="Nexa Bold" panose="00000800000000000000" pitchFamily="2" charset="0"/>
                  </a:defRPr>
                </a:pPr>
                <a:r>
                  <a:rPr lang="en-GB" sz="800" b="0">
                    <a:solidFill>
                      <a:schemeClr val="tx2"/>
                    </a:solidFill>
                    <a:latin typeface="Nexa Bold" panose="00000800000000000000" pitchFamily="2" charset="0"/>
                  </a:rPr>
                  <a:t>Weighted distribution</a:t>
                </a:r>
              </a:p>
            </c:rich>
          </c:tx>
          <c:layout>
            <c:manualLayout>
              <c:xMode val="edge"/>
              <c:yMode val="edge"/>
              <c:x val="0.85659597965403356"/>
              <c:y val="0.94631969882197287"/>
            </c:manualLayout>
          </c:layout>
          <c:overlay val="0"/>
          <c:spPr>
            <a:noFill/>
            <a:ln>
              <a:noFill/>
            </a:ln>
            <a:effectLst/>
          </c:spPr>
        </c:title>
        <c:numFmt formatCode="0.0%"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11451359"/>
        <c:crosses val="autoZero"/>
        <c:crossBetween val="midCat"/>
      </c:valAx>
      <c:valAx>
        <c:axId val="1011451359"/>
        <c:scaling>
          <c:orientation val="minMax"/>
        </c:scaling>
        <c:delete val="0"/>
        <c:axPos val="l"/>
        <c:numFmt formatCode="General" sourceLinked="0"/>
        <c:majorTickMark val="none"/>
        <c:minorTickMark val="none"/>
        <c:tickLblPos val="nextTo"/>
        <c:spPr>
          <a:noFill/>
          <a:ln w="9525" cap="flat" cmpd="sng" algn="ctr">
            <a:solidFill>
              <a:schemeClr val="bg2"/>
            </a:solidFill>
            <a:round/>
          </a:ln>
          <a:effectLst/>
        </c:spPr>
        <c:txPr>
          <a:bodyPr rot="-60000000" vert="horz"/>
          <a:lstStyle/>
          <a:p>
            <a:pPr>
              <a:defRPr/>
            </a:pPr>
            <a:endParaRPr lang="en-CH"/>
          </a:p>
        </c:txPr>
        <c:crossAx val="1004145631"/>
        <c:crosses val="autoZero"/>
        <c:crossBetween val="midCat"/>
      </c:valAx>
      <c:spPr>
        <a:noFill/>
        <a:ln>
          <a:solidFill>
            <a:schemeClr val="bg1"/>
          </a:solid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679D80-3FD9-4F8D-8F9D-355EB3FC5F56}" type="datetimeFigureOut">
              <a:rPr lang="en-CH" smtClean="0"/>
              <a:t>27/0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1B08CE-CB08-45D5-B113-19ECBBE6DAC5}" type="slidenum">
              <a:rPr lang="en-CH" smtClean="0"/>
              <a:t>‹#›</a:t>
            </a:fld>
            <a:endParaRPr lang="en-CH"/>
          </a:p>
        </p:txBody>
      </p:sp>
    </p:spTree>
    <p:extLst>
      <p:ext uri="{BB962C8B-B14F-4D97-AF65-F5344CB8AC3E}">
        <p14:creationId xmlns:p14="http://schemas.microsoft.com/office/powerpoint/2010/main" val="3381297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H"/>
              <a:t>DATA: Value Sales, Gross Sales, Weighted Distribution, Net Sales</a:t>
            </a:r>
          </a:p>
          <a:p>
            <a:endParaRPr lang="en-C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E49A8-F42B-3743-AC85-A4B30C0B6BE0}"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16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11570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348195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BBFC13E-3F64-4E36-814E-4A390258C12B}"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3753679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50F348D-8052-4CFF-A59A-38700A83BEA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6692189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0ACA9F3-09D5-4DB9-A036-5BB8C1DA1B12}"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97682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A1577D70-F57E-432D-B3D5-0759FA0A334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38721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4E78701-F38D-4E5C-ABBC-833AA43BD5FA}"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02548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14C6B110-5A78-424A-9D1E-371817D87C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40133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52CCA97-18F7-420E-AA09-369E2E7F8144}"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4062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A197316-5A91-47EC-86A0-A3A842E46FD3}" type="datetime1">
              <a:rPr lang="en-US" smtClean="0"/>
              <a:t>8/27/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9437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E1AB04-F9EF-4B2B-85D6-244B8E45D3EA}" type="datetime1">
              <a:rPr lang="en-US" smtClean="0"/>
              <a:t>8/27/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247002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7996436F-1613-4BD9-8DA2-0B828AB65D9D}" type="datetime1">
              <a:rPr lang="en-US" smtClean="0"/>
              <a:t>8/2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273547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F9F4D88D-6F95-4734-9E93-59E96F4C5B2D}"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002101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4B539E5B-D660-4908-A930-5D7ED25D7968}" type="datetime1">
              <a:rPr lang="en-US" smtClean="0"/>
              <a:t>8/2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6055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E87FDB52-BBB2-437C-B730-0F4FD1CC342B}" type="datetime1">
              <a:rPr lang="en-US" smtClean="0"/>
              <a:t>8/2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03337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32E4E91C-ACCB-4FB2-9CE2-8479C989DF49}" type="datetime1">
              <a:rPr lang="en-US" smtClean="0"/>
              <a:t>8/2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96318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4826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3FC227B7-6CE2-494E-9FF0-D5486E326F93}" type="datetime1">
              <a:rPr lang="en-US" smtClean="0"/>
              <a:t>8/27/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1723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A698F9-E0CC-4675-A2A3-920539354D2A}" type="datetime1">
              <a:rPr lang="en-US" smtClean="0"/>
              <a:t>8/27/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23769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FB77DA4-E66A-483D-9837-A2011CF448D8}"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7145712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2DFC3E4-C284-436E-93E6-279BCC9ECA79}"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52265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775FBB-4E36-4540-99EF-CA50C933F081}"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5628630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8C7047C-F6FF-45B2-9077-DC747EBFC0B4}"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2860376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67EBB61B-CA5F-4D3B-A745-33BC47F4D24F}" type="datetime1">
              <a:rPr lang="en-US" smtClean="0"/>
              <a:t>8/27/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333415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BC32BF-A67C-4A09-93F2-0403FF7C946C}" type="datetime1">
              <a:rPr lang="en-US" smtClean="0"/>
              <a:t>8/27/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776764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AE4C06A1-875F-4586-BE13-F337DE5DF152}" type="datetime1">
              <a:rPr lang="en-US" smtClean="0"/>
              <a:t>8/27/2025</a:t>
            </a:fld>
            <a:endParaRPr lang="en-US"/>
          </a:p>
        </p:txBody>
      </p:sp>
    </p:spTree>
    <p:extLst>
      <p:ext uri="{BB962C8B-B14F-4D97-AF65-F5344CB8AC3E}">
        <p14:creationId xmlns:p14="http://schemas.microsoft.com/office/powerpoint/2010/main" val="2397515005"/>
      </p:ext>
    </p:extLst>
  </p:cSld>
  <p:clrMap bg1="lt1" tx1="dk1" bg2="lt2" tx2="dk2" accent1="accent1" accent2="accent2" accent3="accent3" accent4="accent4" accent5="accent5" accent6="accent6" hlink="hlink" folHlink="folHlink"/>
  <p:sldLayoutIdLst>
    <p:sldLayoutId id="2147483844"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903" r:id="rId23"/>
    <p:sldLayoutId id="2147483904"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chart" Target="../charts/chart4.xml"/><Relationship Id="rId4" Type="http://schemas.openxmlformats.org/officeDocument/2006/relationships/image" Target="../media/image2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4" Type="http://schemas.openxmlformats.org/officeDocument/2006/relationships/image" Target="../media/image2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5.x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image" Target="../media/image28.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5.xml"/><Relationship Id="rId5" Type="http://schemas.openxmlformats.org/officeDocument/2006/relationships/image" Target="../media/image28.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8E1F0D97-AE43-5C1C-D725-CCAFC78F32B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think-cell data - do not delete" hidden="1">
                        <a:extLst>
                          <a:ext uri="{FF2B5EF4-FFF2-40B4-BE49-F238E27FC236}">
                            <a16:creationId xmlns:a16="http://schemas.microsoft.com/office/drawing/2014/main" id="{8E1F0D97-AE43-5C1C-D725-CCAFC78F32B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D0AC64FC-326E-A59B-A86B-2F2815ECE7CE}"/>
              </a:ext>
            </a:extLst>
          </p:cNvPr>
          <p:cNvSpPr>
            <a:spLocks noGrp="1"/>
          </p:cNvSpPr>
          <p:nvPr>
            <p:ph type="dt" sz="half" idx="14"/>
          </p:nvPr>
        </p:nvSpPr>
        <p:spPr>
          <a:xfrm>
            <a:off x="8082390" y="4972050"/>
            <a:ext cx="557609" cy="171450"/>
          </a:xfrm>
        </p:spPr>
        <p:txBody>
          <a:bodyPr/>
          <a:lstStyle/>
          <a:p>
            <a:pPr lvl="0"/>
            <a:fld id="{5D30810A-8818-4906-96FE-AE4519FE4987}" type="datetime1">
              <a:rPr lang="en-US" noProof="0" smtClean="0"/>
              <a:t>8/27/2025</a:t>
            </a:fld>
            <a:endParaRPr lang="en-US" noProof="0"/>
          </a:p>
        </p:txBody>
      </p:sp>
      <p:sp>
        <p:nvSpPr>
          <p:cNvPr id="21" name="Footer Placeholder 20">
            <a:extLst>
              <a:ext uri="{FF2B5EF4-FFF2-40B4-BE49-F238E27FC236}">
                <a16:creationId xmlns:a16="http://schemas.microsoft.com/office/drawing/2014/main" id="{283CF44C-2B38-9B8F-E256-7D9CDD7B86DD}"/>
              </a:ext>
            </a:extLst>
          </p:cNvPr>
          <p:cNvSpPr>
            <a:spLocks noGrp="1"/>
          </p:cNvSpPr>
          <p:nvPr>
            <p:ph type="ftr" sz="quarter" idx="15"/>
          </p:nvPr>
        </p:nvSpPr>
        <p:spPr>
          <a:xfrm>
            <a:off x="546969" y="4970700"/>
            <a:ext cx="6451742" cy="174151"/>
          </a:xfrm>
        </p:spPr>
        <p:txBody>
          <a:bodyPr/>
          <a:lstStyle/>
          <a:p>
            <a:pPr lvl="0"/>
            <a:endParaRPr lang="en-US" noProof="0"/>
          </a:p>
        </p:txBody>
      </p:sp>
      <p:sp>
        <p:nvSpPr>
          <p:cNvPr id="12" name="SRC">
            <a:extLst>
              <a:ext uri="{FF2B5EF4-FFF2-40B4-BE49-F238E27FC236}">
                <a16:creationId xmlns:a16="http://schemas.microsoft.com/office/drawing/2014/main" id="{9E53EF52-1BF6-42FB-ACD5-97FEF372BDB4}"/>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1" name="MT">
            <a:extLst>
              <a:ext uri="{FF2B5EF4-FFF2-40B4-BE49-F238E27FC236}">
                <a16:creationId xmlns:a16="http://schemas.microsoft.com/office/drawing/2014/main" id="{7347C6A6-55E4-45D1-9502-68E66E5F7EC8}"/>
              </a:ext>
            </a:extLst>
          </p:cNvPr>
          <p:cNvSpPr>
            <a:spLocks noGrp="1"/>
          </p:cNvSpPr>
          <p:nvPr>
            <p:ph type="body" sz="quarter" idx="18"/>
          </p:nvPr>
        </p:nvSpPr>
        <p:spPr>
          <a:xfrm>
            <a:off x="503238" y="774000"/>
            <a:ext cx="8136762" cy="360000"/>
          </a:xfrm>
        </p:spPr>
        <p:txBody>
          <a:bodyPr/>
          <a:lstStyle/>
          <a:p>
            <a:r>
              <a:rPr lang="en-US"/>
              <a:t>SKU Share vs. Value Share | Category | National | P12M</a:t>
            </a:r>
          </a:p>
        </p:txBody>
      </p:sp>
      <p:sp>
        <p:nvSpPr>
          <p:cNvPr id="2" name="Title 1">
            <a:extLst>
              <a:ext uri="{FF2B5EF4-FFF2-40B4-BE49-F238E27FC236}">
                <a16:creationId xmlns:a16="http://schemas.microsoft.com/office/drawing/2014/main" id="{4D97CFDC-4C4F-4728-BA9F-AD270C1DCD6A}"/>
              </a:ext>
            </a:extLst>
          </p:cNvPr>
          <p:cNvSpPr>
            <a:spLocks noGrp="1"/>
          </p:cNvSpPr>
          <p:nvPr>
            <p:ph type="title"/>
          </p:nvPr>
        </p:nvSpPr>
        <p:spPr>
          <a:xfrm>
            <a:off x="504000" y="-1"/>
            <a:ext cx="8136000" cy="771525"/>
          </a:xfrm>
        </p:spPr>
        <p:txBody>
          <a:bodyPr vert="horz"/>
          <a:lstStyle/>
          <a:p>
            <a:r>
              <a:rPr lang="en-GB" dirty="0">
                <a:highlight>
                  <a:srgbClr val="FFFF00"/>
                </a:highlight>
              </a:rPr>
              <a:t>SKU Share By Brand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6" name="C1">
            <a:extLst>
              <a:ext uri="{FF2B5EF4-FFF2-40B4-BE49-F238E27FC236}">
                <a16:creationId xmlns:a16="http://schemas.microsoft.com/office/drawing/2014/main" id="{B4D280C7-B810-4644-9CFE-BA29A5FFC003}"/>
              </a:ext>
            </a:extLst>
          </p:cNvPr>
          <p:cNvGraphicFramePr/>
          <p:nvPr>
            <p:extLst>
              <p:ext uri="{D42A27DB-BD31-4B8C-83A1-F6EECF244321}">
                <p14:modId xmlns:p14="http://schemas.microsoft.com/office/powerpoint/2010/main" val="2591129539"/>
              </p:ext>
            </p:extLst>
          </p:nvPr>
        </p:nvGraphicFramePr>
        <p:xfrm>
          <a:off x="546969" y="1131888"/>
          <a:ext cx="8100000" cy="3599659"/>
        </p:xfrm>
        <a:graphic>
          <a:graphicData uri="http://schemas.openxmlformats.org/drawingml/2006/chart">
            <c:chart xmlns:c="http://schemas.openxmlformats.org/drawingml/2006/chart" xmlns:r="http://schemas.openxmlformats.org/officeDocument/2006/relationships" r:id="rId5"/>
          </a:graphicData>
        </a:graphic>
      </p:graphicFrame>
      <p:sp>
        <p:nvSpPr>
          <p:cNvPr id="3" name="Slide Number Placeholder 2">
            <a:extLst>
              <a:ext uri="{FF2B5EF4-FFF2-40B4-BE49-F238E27FC236}">
                <a16:creationId xmlns:a16="http://schemas.microsoft.com/office/drawing/2014/main" id="{DF98670F-DC4F-A798-115E-604387E61F43}"/>
              </a:ext>
            </a:extLst>
          </p:cNvPr>
          <p:cNvSpPr>
            <a:spLocks noGrp="1"/>
          </p:cNvSpPr>
          <p:nvPr>
            <p:ph type="sldNum" sz="quarter" idx="16"/>
          </p:nvPr>
        </p:nvSpPr>
        <p:spPr/>
        <p:txBody>
          <a:bodyPr/>
          <a:lstStyle/>
          <a:p>
            <a:fld id="{7B1F438D-4EAF-094E-9162-80CF3EF77236}" type="slidenum">
              <a:rPr lang="en-US" smtClean="0"/>
              <a:pPr/>
              <a:t>1</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5750A3F2-D137-7665-F2F6-F2CB4DCD225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think-cell data - do not delete" hidden="1">
                        <a:extLst>
                          <a:ext uri="{FF2B5EF4-FFF2-40B4-BE49-F238E27FC236}">
                            <a16:creationId xmlns:a16="http://schemas.microsoft.com/office/drawing/2014/main" id="{5750A3F2-D137-7665-F2F6-F2CB4DCD225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4" name="Date Placeholder 23">
            <a:extLst>
              <a:ext uri="{FF2B5EF4-FFF2-40B4-BE49-F238E27FC236}">
                <a16:creationId xmlns:a16="http://schemas.microsoft.com/office/drawing/2014/main" id="{2DB51C53-A403-8C4E-2702-CDBCB4CB7960}"/>
              </a:ext>
            </a:extLst>
          </p:cNvPr>
          <p:cNvSpPr>
            <a:spLocks noGrp="1"/>
          </p:cNvSpPr>
          <p:nvPr>
            <p:ph type="dt" sz="half" idx="14"/>
          </p:nvPr>
        </p:nvSpPr>
        <p:spPr>
          <a:xfrm>
            <a:off x="8082390" y="4972050"/>
            <a:ext cx="557609" cy="171450"/>
          </a:xfrm>
        </p:spPr>
        <p:txBody>
          <a:bodyPr/>
          <a:lstStyle/>
          <a:p>
            <a:pPr lvl="0"/>
            <a:fld id="{AD35CDD8-99F1-4CE5-9168-9A47BF036AAB}" type="datetime1">
              <a:rPr lang="en-US" noProof="0" smtClean="0"/>
              <a:t>8/27/2025</a:t>
            </a:fld>
            <a:endParaRPr lang="en-US" noProof="0"/>
          </a:p>
        </p:txBody>
      </p:sp>
      <p:sp>
        <p:nvSpPr>
          <p:cNvPr id="26" name="Footer Placeholder 25">
            <a:extLst>
              <a:ext uri="{FF2B5EF4-FFF2-40B4-BE49-F238E27FC236}">
                <a16:creationId xmlns:a16="http://schemas.microsoft.com/office/drawing/2014/main" id="{5233A02C-9E50-FD93-7E22-E96A4B244B43}"/>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normAutofit/>
          </a:bodyPr>
          <a:lstStyle/>
          <a:p>
            <a:r>
              <a:rPr lang="en-US"/>
              <a:t>Cumulative Product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GB" dirty="0">
                <a:highlight>
                  <a:srgbClr val="FFFF00"/>
                </a:highlight>
              </a:rPr>
              <a:t>Cumulative Product Share </a:t>
            </a:r>
            <a:r>
              <a:rPr lang="en-GB" dirty="0">
                <a:solidFill>
                  <a:schemeClr val="bg2">
                    <a:lumMod val="90000"/>
                  </a:schemeClr>
                </a:solidFill>
                <a:highlight>
                  <a:srgbClr val="FFFF00"/>
                </a:highlight>
              </a:rPr>
              <a:t>(Replace With SO WHAT)</a:t>
            </a:r>
            <a:endParaRPr lang="en-US" dirty="0">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835552067"/>
              </p:ext>
            </p:extLst>
          </p:nvPr>
        </p:nvGraphicFramePr>
        <p:xfrm>
          <a:off x="546968" y="1131888"/>
          <a:ext cx="8080563"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cxnSp>
        <p:nvCxnSpPr>
          <p:cNvPr id="11" name="Straight Connector 10">
            <a:extLst>
              <a:ext uri="{FF2B5EF4-FFF2-40B4-BE49-F238E27FC236}">
                <a16:creationId xmlns:a16="http://schemas.microsoft.com/office/drawing/2014/main" id="{DBF83DC0-46B1-4D26-B902-D16EEE26166F}"/>
              </a:ext>
            </a:extLst>
          </p:cNvPr>
          <p:cNvCxnSpPr>
            <a:cxnSpLocks/>
          </p:cNvCxnSpPr>
          <p:nvPr/>
        </p:nvCxnSpPr>
        <p:spPr>
          <a:xfrm>
            <a:off x="969060" y="3806842"/>
            <a:ext cx="44851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520EAD-4A42-4BAE-B721-5A09109FFED6}"/>
              </a:ext>
            </a:extLst>
          </p:cNvPr>
          <p:cNvCxnSpPr>
            <a:cxnSpLocks/>
          </p:cNvCxnSpPr>
          <p:nvPr/>
        </p:nvCxnSpPr>
        <p:spPr>
          <a:xfrm>
            <a:off x="971382" y="2836033"/>
            <a:ext cx="11061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6A759C-5374-473B-90EB-032523824D34}"/>
              </a:ext>
            </a:extLst>
          </p:cNvPr>
          <p:cNvCxnSpPr>
            <a:cxnSpLocks/>
          </p:cNvCxnSpPr>
          <p:nvPr/>
        </p:nvCxnSpPr>
        <p:spPr>
          <a:xfrm>
            <a:off x="935723" y="1870900"/>
            <a:ext cx="283389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B3">
            <a:extLst>
              <a:ext uri="{FF2B5EF4-FFF2-40B4-BE49-F238E27FC236}">
                <a16:creationId xmlns:a16="http://schemas.microsoft.com/office/drawing/2014/main" id="{E3032301-4913-41DA-A7A5-CFC4F0F48F08}"/>
              </a:ext>
            </a:extLst>
          </p:cNvPr>
          <p:cNvSpPr/>
          <p:nvPr/>
        </p:nvSpPr>
        <p:spPr>
          <a:xfrm>
            <a:off x="943001" y="1669871"/>
            <a:ext cx="1350000" cy="1709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80% is 117</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6" name="TB2">
            <a:extLst>
              <a:ext uri="{FF2B5EF4-FFF2-40B4-BE49-F238E27FC236}">
                <a16:creationId xmlns:a16="http://schemas.microsoft.com/office/drawing/2014/main" id="{CBA0AB52-98F1-484F-9680-87CEC8811835}"/>
              </a:ext>
            </a:extLst>
          </p:cNvPr>
          <p:cNvSpPr/>
          <p:nvPr/>
        </p:nvSpPr>
        <p:spPr>
          <a:xfrm>
            <a:off x="971378" y="261484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Skus to reach 50% is 59</a:t>
            </a:r>
            <a:endParaRPr kumimoji="0" lang="en-GB" sz="60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8" name="TB1">
            <a:extLst>
              <a:ext uri="{FF2B5EF4-FFF2-40B4-BE49-F238E27FC236}">
                <a16:creationId xmlns:a16="http://schemas.microsoft.com/office/drawing/2014/main" id="{A061223F-7239-4622-BD7E-9989EC767C1E}"/>
              </a:ext>
            </a:extLst>
          </p:cNvPr>
          <p:cNvSpPr/>
          <p:nvPr/>
        </p:nvSpPr>
        <p:spPr>
          <a:xfrm>
            <a:off x="975301" y="3609154"/>
            <a:ext cx="1350000" cy="1674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a:ln>
                  <a:noFill/>
                </a:ln>
                <a:solidFill>
                  <a:srgbClr val="575555"/>
                </a:solidFill>
                <a:effectLst/>
                <a:uLnTx/>
                <a:uFillTx/>
                <a:latin typeface="Nexa Book" panose="00000400000000000000" pitchFamily="50" charset="0"/>
                <a:ea typeface="Open Sans" panose="020B0606030504020204" pitchFamily="34" charset="0"/>
                <a:cs typeface="Open Sans" panose="020B0606030504020204" pitchFamily="34" charset="0"/>
              </a:rPr>
              <a:t>#Skus to reach 20% is 22</a:t>
            </a:r>
          </a:p>
        </p:txBody>
      </p:sp>
      <p:sp>
        <p:nvSpPr>
          <p:cNvPr id="2" name="Slide Number Placeholder 1">
            <a:extLst>
              <a:ext uri="{FF2B5EF4-FFF2-40B4-BE49-F238E27FC236}">
                <a16:creationId xmlns:a16="http://schemas.microsoft.com/office/drawing/2014/main" id="{009EE0F0-0696-6D95-7925-801FC97B3848}"/>
              </a:ext>
            </a:extLst>
          </p:cNvPr>
          <p:cNvSpPr>
            <a:spLocks noGrp="1"/>
          </p:cNvSpPr>
          <p:nvPr>
            <p:ph type="sldNum" sz="quarter" idx="16"/>
          </p:nvPr>
        </p:nvSpPr>
        <p:spPr/>
        <p:txBody>
          <a:bodyPr/>
          <a:lstStyle/>
          <a:p>
            <a:fld id="{7B1F438D-4EAF-094E-9162-80CF3EF77236}" type="slidenum">
              <a:rPr lang="en-US" smtClean="0"/>
              <a:pPr/>
              <a:t>2</a:t>
            </a:fld>
            <a:endParaRPr lang="en-US"/>
          </a:p>
        </p:txBody>
      </p:sp>
    </p:spTree>
    <p:extLst>
      <p:ext uri="{BB962C8B-B14F-4D97-AF65-F5344CB8AC3E}">
        <p14:creationId xmlns:p14="http://schemas.microsoft.com/office/powerpoint/2010/main" val="2000003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5D6D61B7-2EC8-6CDD-D2CB-013DBDE9DC9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5D6D61B7-2EC8-6CDD-D2CB-013DBDE9DC9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Date Placeholder 10">
            <a:extLst>
              <a:ext uri="{FF2B5EF4-FFF2-40B4-BE49-F238E27FC236}">
                <a16:creationId xmlns:a16="http://schemas.microsoft.com/office/drawing/2014/main" id="{790767E2-C830-5A8B-56D8-FD04FE476417}"/>
              </a:ext>
            </a:extLst>
          </p:cNvPr>
          <p:cNvSpPr>
            <a:spLocks noGrp="1"/>
          </p:cNvSpPr>
          <p:nvPr>
            <p:ph type="dt" sz="half" idx="14"/>
          </p:nvPr>
        </p:nvSpPr>
        <p:spPr>
          <a:xfrm>
            <a:off x="8082390" y="4972050"/>
            <a:ext cx="557609" cy="171450"/>
          </a:xfrm>
        </p:spPr>
        <p:txBody>
          <a:bodyPr/>
          <a:lstStyle/>
          <a:p>
            <a:pPr lvl="0"/>
            <a:fld id="{E8894C2E-3B7B-4D85-92BD-2477422B964B}" type="datetime1">
              <a:rPr lang="en-US" noProof="0" smtClean="0"/>
              <a:t>8/27/2025</a:t>
            </a:fld>
            <a:endParaRPr lang="en-US" noProof="0"/>
          </a:p>
        </p:txBody>
      </p:sp>
      <p:sp>
        <p:nvSpPr>
          <p:cNvPr id="14" name="Footer Placeholder 13">
            <a:extLst>
              <a:ext uri="{FF2B5EF4-FFF2-40B4-BE49-F238E27FC236}">
                <a16:creationId xmlns:a16="http://schemas.microsoft.com/office/drawing/2014/main" id="{0CA5309B-8FF4-FDE2-6684-F59BDD24CFB2}"/>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SRC"/>
          <p:cNvSpPr>
            <a:spLocks noGrp="1"/>
          </p:cNvSpPr>
          <p:nvPr>
            <p:ph type="body" sz="quarter" idx="17"/>
          </p:nvPr>
        </p:nvSpPr>
        <p:spPr>
          <a:xfrm>
            <a:off x="0" y="4734106"/>
            <a:ext cx="4572000" cy="222878"/>
          </a:xfrm>
        </p:spPr>
        <p:txBody>
          <a:bodyPr/>
          <a:lstStyle/>
          <a:p>
            <a:r>
              <a:rPr lang="en-US"/>
              <a:t>Data Source | IRI | Ending Sep 2021</a:t>
            </a:r>
          </a:p>
        </p:txBody>
      </p:sp>
      <p:sp>
        <p:nvSpPr>
          <p:cNvPr id="10" name="MT">
            <a:extLst>
              <a:ext uri="{FF2B5EF4-FFF2-40B4-BE49-F238E27FC236}">
                <a16:creationId xmlns:a16="http://schemas.microsoft.com/office/drawing/2014/main" id="{81682BFA-A8E3-8844-8D4F-0C5861C471A5}"/>
              </a:ext>
            </a:extLst>
          </p:cNvPr>
          <p:cNvSpPr>
            <a:spLocks noGrp="1"/>
          </p:cNvSpPr>
          <p:nvPr>
            <p:ph type="body" sz="quarter" idx="18"/>
          </p:nvPr>
        </p:nvSpPr>
        <p:spPr>
          <a:xfrm>
            <a:off x="503238" y="774000"/>
            <a:ext cx="8136762" cy="360000"/>
          </a:xfrm>
        </p:spPr>
        <p:txBody>
          <a:bodyPr/>
          <a:lstStyle/>
          <a:p>
            <a:r>
              <a:rPr lang="en-US"/>
              <a:t>Top 50% cumulative share | Category | National | P12M</a:t>
            </a:r>
          </a:p>
        </p:txBody>
      </p:sp>
      <p:sp>
        <p:nvSpPr>
          <p:cNvPr id="8" name="Title 7">
            <a:extLst>
              <a:ext uri="{FF2B5EF4-FFF2-40B4-BE49-F238E27FC236}">
                <a16:creationId xmlns:a16="http://schemas.microsoft.com/office/drawing/2014/main" id="{A329734D-7795-4156-89CF-609789DF734B}"/>
              </a:ext>
            </a:extLst>
          </p:cNvPr>
          <p:cNvSpPr>
            <a:spLocks noGrp="1"/>
          </p:cNvSpPr>
          <p:nvPr>
            <p:ph type="title"/>
          </p:nvPr>
        </p:nvSpPr>
        <p:spPr>
          <a:xfrm>
            <a:off x="504000" y="-1"/>
            <a:ext cx="8136000" cy="771525"/>
          </a:xfrm>
        </p:spPr>
        <p:txBody>
          <a:bodyPr vert="horz"/>
          <a:lstStyle/>
          <a:p>
            <a:r>
              <a:rPr lang="en-US" dirty="0">
                <a:highlight>
                  <a:srgbClr val="FFFF00"/>
                </a:highlight>
              </a:rPr>
              <a:t>Top 5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3" name="C1">
            <a:extLst>
              <a:ext uri="{FF2B5EF4-FFF2-40B4-BE49-F238E27FC236}">
                <a16:creationId xmlns:a16="http://schemas.microsoft.com/office/drawing/2014/main" id="{0FD720B3-3C7D-426F-B391-AFCECEB9BE0C}"/>
              </a:ext>
            </a:extLst>
          </p:cNvPr>
          <p:cNvGraphicFramePr/>
          <p:nvPr>
            <p:extLst>
              <p:ext uri="{D42A27DB-BD31-4B8C-83A1-F6EECF244321}">
                <p14:modId xmlns:p14="http://schemas.microsoft.com/office/powerpoint/2010/main" val="3993441070"/>
              </p:ext>
            </p:extLst>
          </p:nvPr>
        </p:nvGraphicFramePr>
        <p:xfrm>
          <a:off x="540000" y="1131889"/>
          <a:ext cx="8087532" cy="3600868"/>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a:ea typeface="+mn-ea"/>
              <a:cs typeface="+mn-cs"/>
            </a:endParaRPr>
          </a:p>
        </p:txBody>
      </p:sp>
      <p:sp>
        <p:nvSpPr>
          <p:cNvPr id="2" name="Slide Number Placeholder 1">
            <a:extLst>
              <a:ext uri="{FF2B5EF4-FFF2-40B4-BE49-F238E27FC236}">
                <a16:creationId xmlns:a16="http://schemas.microsoft.com/office/drawing/2014/main" id="{A14CDDAB-4706-2287-529C-AC5DED485557}"/>
              </a:ext>
            </a:extLst>
          </p:cNvPr>
          <p:cNvSpPr>
            <a:spLocks noGrp="1"/>
          </p:cNvSpPr>
          <p:nvPr>
            <p:ph type="sldNum" sz="quarter" idx="16"/>
          </p:nvPr>
        </p:nvSpPr>
        <p:spPr/>
        <p:txBody>
          <a:bodyPr/>
          <a:lstStyle/>
          <a:p>
            <a:fld id="{7B1F438D-4EAF-094E-9162-80CF3EF77236}" type="slidenum">
              <a:rPr lang="en-US" smtClean="0"/>
              <a:pPr/>
              <a:t>3</a:t>
            </a:fld>
            <a:endParaRPr lang="en-US"/>
          </a:p>
        </p:txBody>
      </p:sp>
    </p:spTree>
    <p:extLst>
      <p:ext uri="{BB962C8B-B14F-4D97-AF65-F5344CB8AC3E}">
        <p14:creationId xmlns:p14="http://schemas.microsoft.com/office/powerpoint/2010/main" val="2010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09C3C320-31E8-9F98-9B71-42872252FF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1" name="think-cell data - do not delete" hidden="1">
                        <a:extLst>
                          <a:ext uri="{FF2B5EF4-FFF2-40B4-BE49-F238E27FC236}">
                            <a16:creationId xmlns:a16="http://schemas.microsoft.com/office/drawing/2014/main" id="{09C3C320-31E8-9F98-9B71-42872252FF6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077802A6-F799-85E9-68AE-A4E8277C6053}"/>
              </a:ext>
            </a:extLst>
          </p:cNvPr>
          <p:cNvSpPr>
            <a:spLocks noGrp="1"/>
          </p:cNvSpPr>
          <p:nvPr>
            <p:ph type="dt" sz="half" idx="14"/>
          </p:nvPr>
        </p:nvSpPr>
        <p:spPr>
          <a:xfrm>
            <a:off x="8082390" y="4972050"/>
            <a:ext cx="557609" cy="171450"/>
          </a:xfrm>
        </p:spPr>
        <p:txBody>
          <a:bodyPr/>
          <a:lstStyle/>
          <a:p>
            <a:pPr lvl="0"/>
            <a:fld id="{EFB81D27-C5BB-4DC7-A4E3-42EA1CA880C6}" type="datetime1">
              <a:rPr lang="en-US" noProof="0" smtClean="0"/>
              <a:t>8/27/2025</a:t>
            </a:fld>
            <a:endParaRPr lang="en-US" noProof="0"/>
          </a:p>
        </p:txBody>
      </p:sp>
      <p:sp>
        <p:nvSpPr>
          <p:cNvPr id="16" name="Footer Placeholder 15">
            <a:extLst>
              <a:ext uri="{FF2B5EF4-FFF2-40B4-BE49-F238E27FC236}">
                <a16:creationId xmlns:a16="http://schemas.microsoft.com/office/drawing/2014/main" id="{D6FAC5A4-C3AC-C7F8-338E-494C6FD3B8CE}"/>
              </a:ext>
            </a:extLst>
          </p:cNvPr>
          <p:cNvSpPr>
            <a:spLocks noGrp="1"/>
          </p:cNvSpPr>
          <p:nvPr>
            <p:ph type="ftr" sz="quarter" idx="15"/>
          </p:nvPr>
        </p:nvSpPr>
        <p:spPr>
          <a:xfrm>
            <a:off x="546969" y="4970700"/>
            <a:ext cx="6451742" cy="174151"/>
          </a:xfrm>
        </p:spPr>
        <p:txBody>
          <a:bodyPr/>
          <a:lstStyle/>
          <a:p>
            <a:pPr lvl="0"/>
            <a:endParaRPr lang="en-US" noProof="0"/>
          </a:p>
        </p:txBody>
      </p:sp>
      <p:sp>
        <p:nvSpPr>
          <p:cNvPr id="10" name="SRC">
            <a:extLst>
              <a:ext uri="{FF2B5EF4-FFF2-40B4-BE49-F238E27FC236}">
                <a16:creationId xmlns:a16="http://schemas.microsoft.com/office/drawing/2014/main" id="{81682BFA-A8E3-8844-8D4F-0C5861C471A5}"/>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9" name="MT">
            <a:extLst>
              <a:ext uri="{FF2B5EF4-FFF2-40B4-BE49-F238E27FC236}">
                <a16:creationId xmlns:a16="http://schemas.microsoft.com/office/drawing/2014/main" id="{D482ACD6-6A79-804E-B85E-181B6E9B68CB}"/>
              </a:ext>
            </a:extLst>
          </p:cNvPr>
          <p:cNvSpPr>
            <a:spLocks noGrp="1"/>
          </p:cNvSpPr>
          <p:nvPr>
            <p:ph type="body" sz="quarter" idx="18"/>
          </p:nvPr>
        </p:nvSpPr>
        <p:spPr>
          <a:xfrm>
            <a:off x="503238" y="774000"/>
            <a:ext cx="8136762" cy="360000"/>
          </a:xfrm>
        </p:spPr>
        <p:txBody>
          <a:bodyPr/>
          <a:lstStyle/>
          <a:p>
            <a:r>
              <a:rPr lang="en-US" dirty="0"/>
              <a:t>Cumulative Product Share | Category | Brand | National | P12M</a:t>
            </a:r>
          </a:p>
        </p:txBody>
      </p:sp>
      <p:sp>
        <p:nvSpPr>
          <p:cNvPr id="4" name="Title 3">
            <a:extLst>
              <a:ext uri="{FF2B5EF4-FFF2-40B4-BE49-F238E27FC236}">
                <a16:creationId xmlns:a16="http://schemas.microsoft.com/office/drawing/2014/main" id="{65C464FA-A837-4316-9903-EE62A45E7DBA}"/>
              </a:ext>
            </a:extLst>
          </p:cNvPr>
          <p:cNvSpPr>
            <a:spLocks noGrp="1"/>
          </p:cNvSpPr>
          <p:nvPr>
            <p:ph type="title"/>
          </p:nvPr>
        </p:nvSpPr>
        <p:spPr>
          <a:xfrm>
            <a:off x="504000" y="-1"/>
            <a:ext cx="8136000" cy="771525"/>
          </a:xfrm>
        </p:spPr>
        <p:txBody>
          <a:bodyPr vert="horz"/>
          <a:lstStyle/>
          <a:p>
            <a:r>
              <a:rPr lang="en-US" dirty="0" err="1">
                <a:highlight>
                  <a:srgbClr val="FFFF00"/>
                </a:highlight>
              </a:rPr>
              <a:t>Manuf</a:t>
            </a:r>
            <a:r>
              <a:rPr lang="en-US" dirty="0">
                <a:highlight>
                  <a:srgbClr val="FFFF00"/>
                </a:highlight>
              </a:rPr>
              <a:t> Cumulative Product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sp>
        <p:nvSpPr>
          <p:cNvPr id="12" name="Rectangle 11">
            <a:extLst>
              <a:ext uri="{FF2B5EF4-FFF2-40B4-BE49-F238E27FC236}">
                <a16:creationId xmlns:a16="http://schemas.microsoft.com/office/drawing/2014/main" id="{C04C493D-AAC4-445B-83B4-E8C099AB6FEB}"/>
              </a:ext>
            </a:extLst>
          </p:cNvPr>
          <p:cNvSpPr/>
          <p:nvPr/>
        </p:nvSpPr>
        <p:spPr>
          <a:xfrm>
            <a:off x="498240" y="810002"/>
            <a:ext cx="8341279" cy="23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006C6D"/>
              </a:solidFill>
              <a:effectLst/>
              <a:uLnTx/>
              <a:uFillTx/>
              <a:latin typeface="Nexa Bold" panose="00000800000000000000" pitchFamily="2" charset="0"/>
              <a:ea typeface="+mn-ea"/>
              <a:cs typeface="+mn-cs"/>
            </a:endParaRPr>
          </a:p>
        </p:txBody>
      </p:sp>
      <p:graphicFrame>
        <p:nvGraphicFramePr>
          <p:cNvPr id="13" name="C1">
            <a:extLst>
              <a:ext uri="{FF2B5EF4-FFF2-40B4-BE49-F238E27FC236}">
                <a16:creationId xmlns:a16="http://schemas.microsoft.com/office/drawing/2014/main" id="{08F61870-F9C7-4A50-B436-EC325E76535D}"/>
              </a:ext>
            </a:extLst>
          </p:cNvPr>
          <p:cNvGraphicFramePr/>
          <p:nvPr>
            <p:extLst>
              <p:ext uri="{D42A27DB-BD31-4B8C-83A1-F6EECF244321}">
                <p14:modId xmlns:p14="http://schemas.microsoft.com/office/powerpoint/2010/main" val="3629340331"/>
              </p:ext>
            </p:extLst>
          </p:nvPr>
        </p:nvGraphicFramePr>
        <p:xfrm>
          <a:off x="538371" y="1131888"/>
          <a:ext cx="8100001" cy="3599656"/>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F558720E-F781-EE98-CA59-3B00A1023C5A}"/>
              </a:ext>
            </a:extLst>
          </p:cNvPr>
          <p:cNvSpPr>
            <a:spLocks noGrp="1"/>
          </p:cNvSpPr>
          <p:nvPr>
            <p:ph type="sldNum" sz="quarter" idx="16"/>
          </p:nvPr>
        </p:nvSpPr>
        <p:spPr/>
        <p:txBody>
          <a:bodyPr/>
          <a:lstStyle/>
          <a:p>
            <a:fld id="{7B1F438D-4EAF-094E-9162-80CF3EF77236}" type="slidenum">
              <a:rPr lang="en-US" smtClean="0"/>
              <a:pPr/>
              <a:t>4</a:t>
            </a:fld>
            <a:endParaRPr lang="en-US"/>
          </a:p>
        </p:txBody>
      </p:sp>
    </p:spTree>
    <p:extLst>
      <p:ext uri="{BB962C8B-B14F-4D97-AF65-F5344CB8AC3E}">
        <p14:creationId xmlns:p14="http://schemas.microsoft.com/office/powerpoint/2010/main" val="3677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970D960-C535-6AAA-BC7C-2DE128F714C4}"/>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5" name="think-cell data - do not delete" hidden="1">
                        <a:extLst>
                          <a:ext uri="{FF2B5EF4-FFF2-40B4-BE49-F238E27FC236}">
                            <a16:creationId xmlns:a16="http://schemas.microsoft.com/office/drawing/2014/main" id="{1970D960-C535-6AAA-BC7C-2DE128F714C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117F79C7-37AA-B7BB-418D-547164428A7A}"/>
              </a:ext>
            </a:extLst>
          </p:cNvPr>
          <p:cNvSpPr>
            <a:spLocks noGrp="1"/>
          </p:cNvSpPr>
          <p:nvPr>
            <p:ph type="dt" sz="half" idx="14"/>
          </p:nvPr>
        </p:nvSpPr>
        <p:spPr>
          <a:xfrm>
            <a:off x="8082390" y="4972050"/>
            <a:ext cx="557609" cy="171450"/>
          </a:xfrm>
        </p:spPr>
        <p:txBody>
          <a:bodyPr/>
          <a:lstStyle/>
          <a:p>
            <a:pPr lvl="0"/>
            <a:fld id="{F168323C-C05C-44B1-8BC1-8ABB3B333986}" type="datetime1">
              <a:rPr lang="en-US" noProof="0" smtClean="0"/>
              <a:t>8/27/2025</a:t>
            </a:fld>
            <a:endParaRPr lang="en-US" noProof="0"/>
          </a:p>
        </p:txBody>
      </p:sp>
      <p:sp>
        <p:nvSpPr>
          <p:cNvPr id="9" name="Footer Placeholder 8">
            <a:extLst>
              <a:ext uri="{FF2B5EF4-FFF2-40B4-BE49-F238E27FC236}">
                <a16:creationId xmlns:a16="http://schemas.microsoft.com/office/drawing/2014/main" id="{7C91E692-45F5-7ED1-6017-FDF76C2B386C}"/>
              </a:ext>
            </a:extLst>
          </p:cNvPr>
          <p:cNvSpPr>
            <a:spLocks noGrp="1"/>
          </p:cNvSpPr>
          <p:nvPr>
            <p:ph type="ftr" sz="quarter" idx="15"/>
          </p:nvPr>
        </p:nvSpPr>
        <p:spPr>
          <a:xfrm>
            <a:off x="546969" y="4970700"/>
            <a:ext cx="6451742" cy="174151"/>
          </a:xfrm>
        </p:spPr>
        <p:txBody>
          <a:bodyPr/>
          <a:lstStyle/>
          <a:p>
            <a:pPr lvl="0"/>
            <a:endParaRPr lang="en-US" noProof="0"/>
          </a:p>
        </p:txBody>
      </p:sp>
      <p:sp>
        <p:nvSpPr>
          <p:cNvPr id="4" name="SRC">
            <a:extLst>
              <a:ext uri="{FF2B5EF4-FFF2-40B4-BE49-F238E27FC236}">
                <a16:creationId xmlns:a16="http://schemas.microsoft.com/office/drawing/2014/main" id="{C06DBC12-20E2-D849-8F61-B66918566DE8}"/>
              </a:ext>
            </a:extLst>
          </p:cNvPr>
          <p:cNvSpPr>
            <a:spLocks noGrp="1"/>
          </p:cNvSpPr>
          <p:nvPr>
            <p:ph type="body" sz="quarter" idx="17"/>
          </p:nvPr>
        </p:nvSpPr>
        <p:spPr>
          <a:xfrm>
            <a:off x="0" y="4734106"/>
            <a:ext cx="4572000" cy="222878"/>
          </a:xfrm>
        </p:spPr>
        <p:txBody>
          <a:bodyPr/>
          <a:lstStyle/>
          <a:p>
            <a:r>
              <a:rPr lang="en-US"/>
              <a:t>Data Source | Nielsen | Ending Mar 2022</a:t>
            </a:r>
          </a:p>
        </p:txBody>
      </p:sp>
      <p:sp>
        <p:nvSpPr>
          <p:cNvPr id="12" name="MT">
            <a:extLst>
              <a:ext uri="{FF2B5EF4-FFF2-40B4-BE49-F238E27FC236}">
                <a16:creationId xmlns:a16="http://schemas.microsoft.com/office/drawing/2014/main" id="{03BDD5EC-8893-42D9-9E5B-45B8C00DDF2A}"/>
              </a:ext>
            </a:extLst>
          </p:cNvPr>
          <p:cNvSpPr>
            <a:spLocks noGrp="1"/>
          </p:cNvSpPr>
          <p:nvPr>
            <p:ph type="body" sz="quarter" idx="18"/>
          </p:nvPr>
        </p:nvSpPr>
        <p:spPr>
          <a:xfrm>
            <a:off x="503238" y="774000"/>
            <a:ext cx="8136762" cy="360000"/>
          </a:xfrm>
        </p:spPr>
        <p:txBody>
          <a:bodyPr/>
          <a:lstStyle/>
          <a:p>
            <a:r>
              <a:rPr lang="en-US"/>
              <a:t>Top 20 cumulative share products | Category | National | P12M</a:t>
            </a:r>
          </a:p>
        </p:txBody>
      </p:sp>
      <p:sp>
        <p:nvSpPr>
          <p:cNvPr id="8" name="Title 7">
            <a:extLst>
              <a:ext uri="{FF2B5EF4-FFF2-40B4-BE49-F238E27FC236}">
                <a16:creationId xmlns:a16="http://schemas.microsoft.com/office/drawing/2014/main" id="{D3A4FC15-8684-45B0-8711-776183239AC3}"/>
              </a:ext>
            </a:extLst>
          </p:cNvPr>
          <p:cNvSpPr>
            <a:spLocks noGrp="1"/>
          </p:cNvSpPr>
          <p:nvPr>
            <p:ph type="title"/>
          </p:nvPr>
        </p:nvSpPr>
        <p:spPr>
          <a:xfrm>
            <a:off x="504000" y="-1"/>
            <a:ext cx="8136000" cy="771525"/>
          </a:xfrm>
        </p:spPr>
        <p:txBody>
          <a:bodyPr vert="horz"/>
          <a:lstStyle/>
          <a:p>
            <a:r>
              <a:rPr lang="en-US" dirty="0">
                <a:highlight>
                  <a:srgbClr val="FFFF00"/>
                </a:highlight>
              </a:rPr>
              <a:t>Top 20 cumulative share </a:t>
            </a:r>
            <a:r>
              <a:rPr lang="en-GB" dirty="0">
                <a:solidFill>
                  <a:schemeClr val="bg2">
                    <a:lumMod val="90000"/>
                  </a:schemeClr>
                </a:solidFill>
                <a:highlight>
                  <a:srgbClr val="FFFF00"/>
                </a:highlight>
              </a:rPr>
              <a:t>(Replace With SO WHAT)</a:t>
            </a:r>
            <a:endParaRPr lang="en-US" dirty="0">
              <a:solidFill>
                <a:schemeClr val="bg2">
                  <a:lumMod val="90000"/>
                </a:schemeClr>
              </a:solidFill>
              <a:highlight>
                <a:srgbClr val="FFFF00"/>
              </a:highlight>
            </a:endParaRPr>
          </a:p>
        </p:txBody>
      </p:sp>
      <p:graphicFrame>
        <p:nvGraphicFramePr>
          <p:cNvPr id="10" name="T1">
            <a:extLst>
              <a:ext uri="{FF2B5EF4-FFF2-40B4-BE49-F238E27FC236}">
                <a16:creationId xmlns:a16="http://schemas.microsoft.com/office/drawing/2014/main" id="{ABCDD52D-DC3B-4D4F-92D2-9D2008588E55}"/>
              </a:ext>
            </a:extLst>
          </p:cNvPr>
          <p:cNvGraphicFramePr>
            <a:graphicFrameLocks/>
          </p:cNvGraphicFramePr>
          <p:nvPr>
            <p:extLst>
              <p:ext uri="{D42A27DB-BD31-4B8C-83A1-F6EECF244321}">
                <p14:modId xmlns:p14="http://schemas.microsoft.com/office/powerpoint/2010/main" val="1885254926"/>
              </p:ext>
            </p:extLst>
          </p:nvPr>
        </p:nvGraphicFramePr>
        <p:xfrm>
          <a:off x="539750" y="1131888"/>
          <a:ext cx="8110536" cy="3600876"/>
        </p:xfrm>
        <a:graphic>
          <a:graphicData uri="http://schemas.openxmlformats.org/drawingml/2006/table">
            <a:tbl>
              <a:tblPr>
                <a:tableStyleId>{5C22544A-7EE6-4342-B048-85BDC9FD1C3A}</a:tableStyleId>
              </a:tblPr>
              <a:tblGrid>
                <a:gridCol w="1099440">
                  <a:extLst>
                    <a:ext uri="{9D8B030D-6E8A-4147-A177-3AD203B41FA5}">
                      <a16:colId xmlns:a16="http://schemas.microsoft.com/office/drawing/2014/main" val="292783373"/>
                    </a:ext>
                  </a:extLst>
                </a:gridCol>
                <a:gridCol w="4798001">
                  <a:extLst>
                    <a:ext uri="{9D8B030D-6E8A-4147-A177-3AD203B41FA5}">
                      <a16:colId xmlns:a16="http://schemas.microsoft.com/office/drawing/2014/main" val="649022852"/>
                    </a:ext>
                  </a:extLst>
                </a:gridCol>
                <a:gridCol w="393380">
                  <a:extLst>
                    <a:ext uri="{9D8B030D-6E8A-4147-A177-3AD203B41FA5}">
                      <a16:colId xmlns:a16="http://schemas.microsoft.com/office/drawing/2014/main" val="1763384486"/>
                    </a:ext>
                  </a:extLst>
                </a:gridCol>
                <a:gridCol w="655378">
                  <a:extLst>
                    <a:ext uri="{9D8B030D-6E8A-4147-A177-3AD203B41FA5}">
                      <a16:colId xmlns:a16="http://schemas.microsoft.com/office/drawing/2014/main" val="504639825"/>
                    </a:ext>
                  </a:extLst>
                </a:gridCol>
                <a:gridCol w="1164337">
                  <a:extLst>
                    <a:ext uri="{9D8B030D-6E8A-4147-A177-3AD203B41FA5}">
                      <a16:colId xmlns:a16="http://schemas.microsoft.com/office/drawing/2014/main" val="3388707083"/>
                    </a:ext>
                  </a:extLst>
                </a:gridCol>
              </a:tblGrid>
              <a:tr h="317476">
                <a:tc>
                  <a:txBody>
                    <a:bodyPr/>
                    <a:lstStyle/>
                    <a:p>
                      <a:pPr algn="ctr" fontAlgn="b"/>
                      <a:r>
                        <a:rPr lang="en-GB" sz="800" b="0" i="0" u="none" strike="noStrike">
                          <a:solidFill>
                            <a:schemeClr val="tx2"/>
                          </a:solidFill>
                          <a:effectLst/>
                          <a:latin typeface="Nexa Bold" panose="00000800000000000000" pitchFamily="2" charset="0"/>
                        </a:rPr>
                        <a:t>Top Brands</a:t>
                      </a:r>
                    </a:p>
                  </a:txBody>
                  <a:tcPr marL="7144" marR="7144" marT="7144" marB="0">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WD</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Cumulative Share</a:t>
                      </a:r>
                    </a:p>
                  </a:txBody>
                  <a:tcPr marL="7144" marR="7144" marT="7144"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fontAlgn="b"/>
                      <a:r>
                        <a:rPr lang="en-GB" sz="800" b="0" i="0" u="none" strike="noStrike">
                          <a:solidFill>
                            <a:schemeClr val="tx2"/>
                          </a:solidFill>
                          <a:effectLst/>
                          <a:latin typeface="Nexa Bold" panose="00000800000000000000" pitchFamily="2" charset="0"/>
                        </a:rPr>
                        <a:t>Product Sales Rate (Unit | Currency)</a:t>
                      </a:r>
                    </a:p>
                  </a:txBody>
                  <a:tcPr marL="7144" marR="7144" marT="7144" marB="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18445387"/>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2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2644296"/>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18.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0633205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7.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77019259"/>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5%</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3.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1668940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6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0289525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2.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76375343"/>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4.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1.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67548465"/>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2.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85022217"/>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M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8.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3049998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1 1.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0.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93318438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6 0.7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61%</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1.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32996514"/>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3.0%</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7.2</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76062154"/>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Gerolsteiner Medium Normal Wenig Co2 Normal Coffeinfrei 12 1.0 L M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7%</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4.2%</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GB" sz="800" b="0">
                          <a:solidFill>
                            <a:schemeClr val="tx2"/>
                          </a:solidFill>
                          <a:latin typeface="Nexa Book" panose="00000400000000000000" pitchFamily="2" charset="0"/>
                        </a:rPr>
                        <a:t>41.9</a:t>
                      </a:r>
                      <a:endParaRPr lang="en-GB"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30007318"/>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Wenig Co2 Normal Coffeinfrei 6 1.0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5.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36.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273312142"/>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Vittel</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ittel Normal O Co2 Normal Coffeinfrei 1 1.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9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6.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14509061"/>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6 0.7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3%</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6.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90141980"/>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pt-BR" sz="800" b="0">
                          <a:solidFill>
                            <a:schemeClr val="tx2"/>
                          </a:solidFill>
                          <a:latin typeface="Nexa Book" panose="00000400000000000000" pitchFamily="2" charset="0"/>
                        </a:rPr>
                        <a:t>Volvic Naturelle Normal O Co2 Normal Coffeinfrei 6 0.5 L Ew Petfl</a:t>
                      </a:r>
                      <a:endParaRPr lang="pt-BR"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8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5.1</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720551800"/>
                  </a:ext>
                </a:extLst>
              </a:tr>
              <a:tr h="164170">
                <a:tc>
                  <a:txBody>
                    <a:bodyPr/>
                    <a:lstStyle/>
                    <a:p>
                      <a:pPr algn="ctr" fontAlgn="b"/>
                      <a:r>
                        <a:rPr kumimoji="0" lang="en-GB" sz="800" b="0" i="0" u="none" strike="noStrike" kern="1200" cap="none" spc="0" normalizeH="0" baseline="0" noProof="0">
                          <a:ln>
                            <a:noFill/>
                          </a:ln>
                          <a:solidFill>
                            <a:schemeClr val="tx2"/>
                          </a:solidFill>
                          <a:effectLst/>
                          <a:uLnTx/>
                          <a:uFillTx/>
                          <a:latin typeface="Nexa Book" panose="00000400000000000000" pitchFamily="2" charset="0"/>
                          <a:ea typeface="+mn-ea"/>
                          <a:cs typeface="+mn-cs"/>
                        </a:rPr>
                        <a:t>Eigenmarke</a:t>
                      </a:r>
                      <a:endParaRPr lang="en-GB"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de-DE" sz="800" b="0">
                          <a:solidFill>
                            <a:schemeClr val="tx2"/>
                          </a:solidFill>
                          <a:latin typeface="Nexa Book" panose="00000400000000000000" pitchFamily="2" charset="0"/>
                        </a:rPr>
                        <a:t>Eigenmarke Eigenmarke O Co2 Normal Coffeinfrei 6 0.5 L Ew Petfl</a:t>
                      </a:r>
                      <a:endParaRPr lang="de-D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6%</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8.9%</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1.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682606022"/>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Gerolsteiner</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Gerolsteiner Sprudel Normal M Co2 Normal Coffeinfrei 12 1.0 L M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49.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25.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959808831"/>
                  </a:ext>
                </a:extLst>
              </a:tr>
              <a:tr h="164170">
                <a:tc>
                  <a:txBody>
                    <a:bodyPr/>
                    <a:lstStyle/>
                    <a:p>
                      <a:pPr algn="ctr" fontAlgn="b"/>
                      <a:r>
                        <a:rPr kumimoji="0" lang="en-GB" sz="800" b="0" i="0" u="none" strike="noStrike" kern="1200" cap="none" spc="0" normalizeH="0" baseline="0" noProof="0" err="1">
                          <a:ln>
                            <a:noFill/>
                          </a:ln>
                          <a:solidFill>
                            <a:schemeClr val="tx2"/>
                          </a:solidFill>
                          <a:effectLst/>
                          <a:uLnTx/>
                          <a:uFillTx/>
                          <a:latin typeface="Nexa Book" panose="00000400000000000000" pitchFamily="2" charset="0"/>
                          <a:ea typeface="+mn-ea"/>
                          <a:cs typeface="+mn-cs"/>
                        </a:rPr>
                        <a:t>Volvic</a:t>
                      </a:r>
                      <a:endParaRPr lang="en-US" sz="800" b="1" i="0" u="none" strike="noStrike">
                        <a:solidFill>
                          <a:schemeClr val="tx2"/>
                        </a:solidFill>
                        <a:effectLst/>
                        <a:latin typeface="Nexa Book" panose="00000400000000000000" pitchFamily="2" charset="0"/>
                      </a:endParaRPr>
                    </a:p>
                  </a:txBody>
                  <a:tcPr marL="7144" marR="7144" marT="7144" marB="0" anchor="ctr">
                    <a:lnL w="12700" cap="flat" cmpd="sng" algn="ctr">
                      <a:noFill/>
                      <a:prstDash val="solid"/>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l" fontAlgn="b"/>
                      <a:r>
                        <a:rPr lang="en-US" sz="800" b="0">
                          <a:solidFill>
                            <a:schemeClr val="tx2"/>
                          </a:solidFill>
                          <a:latin typeface="Nexa Book" panose="00000400000000000000" pitchFamily="2" charset="0"/>
                        </a:rPr>
                        <a:t>Volvic Leichtperlig Normal Wenig Co2 Normal Coffeinfrei 6 1.5 L Ew Petfl</a:t>
                      </a:r>
                      <a:endParaRPr lang="en-US"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78%</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50.4%</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r>
                        <a:rPr lang="en-AE" sz="800" b="0">
                          <a:solidFill>
                            <a:schemeClr val="tx2"/>
                          </a:solidFill>
                          <a:latin typeface="Nexa Book" panose="00000400000000000000" pitchFamily="2" charset="0"/>
                        </a:rPr>
                        <a:t>14.7</a:t>
                      </a:r>
                      <a:endParaRPr lang="en-AE" sz="800" b="0" i="0" u="none" strike="noStrike">
                        <a:solidFill>
                          <a:schemeClr val="tx2"/>
                        </a:solidFill>
                        <a:effectLst/>
                        <a:latin typeface="Nexa Book" panose="00000400000000000000" pitchFamily="2" charset="0"/>
                      </a:endParaRPr>
                    </a:p>
                  </a:txBody>
                  <a:tcPr marL="7144" marR="7144" marT="7144"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36017471"/>
                  </a:ext>
                </a:extLst>
              </a:tr>
            </a:tbl>
          </a:graphicData>
        </a:graphic>
      </p:graphicFrame>
      <p:sp>
        <p:nvSpPr>
          <p:cNvPr id="3" name="Slide Number Placeholder 2">
            <a:extLst>
              <a:ext uri="{FF2B5EF4-FFF2-40B4-BE49-F238E27FC236}">
                <a16:creationId xmlns:a16="http://schemas.microsoft.com/office/drawing/2014/main" id="{C82C573D-1FE6-446A-93EF-CCDEBEB07D7A}"/>
              </a:ext>
            </a:extLst>
          </p:cNvPr>
          <p:cNvSpPr>
            <a:spLocks noGrp="1"/>
          </p:cNvSpPr>
          <p:nvPr>
            <p:ph type="sldNum" sz="quarter" idx="16"/>
          </p:nvPr>
        </p:nvSpPr>
        <p:spPr/>
        <p:txBody>
          <a:bodyPr/>
          <a:lstStyle/>
          <a:p>
            <a:fld id="{7B1F438D-4EAF-094E-9162-80CF3EF77236}"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DB87889-F84E-F5AA-802B-0565E7FD45D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4" name="think-cell data - do not delete" hidden="1">
                        <a:extLst>
                          <a:ext uri="{FF2B5EF4-FFF2-40B4-BE49-F238E27FC236}">
                            <a16:creationId xmlns:a16="http://schemas.microsoft.com/office/drawing/2014/main" id="{EDB87889-F84E-F5AA-802B-0565E7FD45D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24BCA2-98C9-99F9-9E1E-3F20EC351F2A}"/>
              </a:ext>
            </a:extLst>
          </p:cNvPr>
          <p:cNvSpPr>
            <a:spLocks noGrp="1"/>
          </p:cNvSpPr>
          <p:nvPr>
            <p:ph type="dt" sz="half" idx="14"/>
          </p:nvPr>
        </p:nvSpPr>
        <p:spPr>
          <a:xfrm>
            <a:off x="8082390" y="4972050"/>
            <a:ext cx="557609" cy="171450"/>
          </a:xfrm>
        </p:spPr>
        <p:txBody>
          <a:bodyPr/>
          <a:lstStyle/>
          <a:p>
            <a:pPr lvl="0"/>
            <a:fld id="{81FA3276-D408-4D96-BFE5-3896868C60AF}" type="datetime1">
              <a:rPr lang="en-US" noProof="0" smtClean="0"/>
              <a:t>8/27/2025</a:t>
            </a:fld>
            <a:endParaRPr lang="en-US" noProof="0"/>
          </a:p>
        </p:txBody>
      </p:sp>
      <p:sp>
        <p:nvSpPr>
          <p:cNvPr id="8" name="Footer Placeholder 7">
            <a:extLst>
              <a:ext uri="{FF2B5EF4-FFF2-40B4-BE49-F238E27FC236}">
                <a16:creationId xmlns:a16="http://schemas.microsoft.com/office/drawing/2014/main" id="{FAD90353-FBA6-D752-8C66-13D94EE1BEB8}"/>
              </a:ext>
            </a:extLst>
          </p:cNvPr>
          <p:cNvSpPr>
            <a:spLocks noGrp="1"/>
          </p:cNvSpPr>
          <p:nvPr>
            <p:ph type="ftr" sz="quarter" idx="15"/>
          </p:nvPr>
        </p:nvSpPr>
        <p:spPr>
          <a:xfrm>
            <a:off x="546969" y="4970700"/>
            <a:ext cx="6451742" cy="174151"/>
          </a:xfrm>
        </p:spPr>
        <p:txBody>
          <a:bodyPr/>
          <a:lstStyle/>
          <a:p>
            <a:pPr lvl="0"/>
            <a:endParaRPr lang="en-US" noProof="0"/>
          </a:p>
        </p:txBody>
      </p:sp>
      <p:sp>
        <p:nvSpPr>
          <p:cNvPr id="5" name="Text Placeholder 4">
            <a:extLst>
              <a:ext uri="{FF2B5EF4-FFF2-40B4-BE49-F238E27FC236}">
                <a16:creationId xmlns:a16="http://schemas.microsoft.com/office/drawing/2014/main" id="{3E52FF99-EF40-2348-855E-EDC1E854E8F0}"/>
              </a:ext>
            </a:extLst>
          </p:cNvPr>
          <p:cNvSpPr>
            <a:spLocks noGrp="1"/>
          </p:cNvSpPr>
          <p:nvPr>
            <p:ph type="body" sz="quarter" idx="17"/>
          </p:nvPr>
        </p:nvSpPr>
        <p:spPr>
          <a:xfrm>
            <a:off x="0" y="4734106"/>
            <a:ext cx="4572000" cy="222878"/>
          </a:xfrm>
        </p:spPr>
        <p:txBody>
          <a:bodyPr/>
          <a:lstStyle/>
          <a:p>
            <a:r>
              <a:rPr lang="da-DK"/>
              <a:t>Data Source l Client P&amp;L</a:t>
            </a:r>
          </a:p>
        </p:txBody>
      </p:sp>
      <p:sp>
        <p:nvSpPr>
          <p:cNvPr id="2" name="Text Placeholder 1">
            <a:extLst>
              <a:ext uri="{FF2B5EF4-FFF2-40B4-BE49-F238E27FC236}">
                <a16:creationId xmlns:a16="http://schemas.microsoft.com/office/drawing/2014/main" id="{D06EB513-D5D8-ED9D-EAE3-2BCDEC56CB4D}"/>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Trade Margin % and </a:t>
            </a:r>
            <a:r>
              <a:rPr lang="en-CH"/>
              <a:t>Net</a:t>
            </a:r>
            <a:r>
              <a:rPr lang="en-GB"/>
              <a:t> Sales | </a:t>
            </a:r>
            <a:r>
              <a:rPr lang="en-US"/>
              <a:t>Category | Brand | National </a:t>
            </a:r>
            <a:r>
              <a:rPr lang="en-GB"/>
              <a:t>| </a:t>
            </a:r>
            <a:r>
              <a:rPr lang="en-US"/>
              <a:t>P12M</a:t>
            </a:r>
            <a:endParaRPr lang="en-GB"/>
          </a:p>
          <a:p>
            <a:r>
              <a:rPr lang="en-US"/>
              <a:t>Bubble Size: Net Sales</a:t>
            </a:r>
            <a:endParaRPr lang="en-GB"/>
          </a:p>
        </p:txBody>
      </p:sp>
      <p:sp>
        <p:nvSpPr>
          <p:cNvPr id="9" name="Title 8">
            <a:extLst>
              <a:ext uri="{FF2B5EF4-FFF2-40B4-BE49-F238E27FC236}">
                <a16:creationId xmlns:a16="http://schemas.microsoft.com/office/drawing/2014/main" id="{C4FA41A5-B3C1-4AA6-92AA-7CEC2EA41F1E}"/>
              </a:ext>
            </a:extLst>
          </p:cNvPr>
          <p:cNvSpPr>
            <a:spLocks noGrp="1"/>
          </p:cNvSpPr>
          <p:nvPr>
            <p:ph type="title"/>
          </p:nvPr>
        </p:nvSpPr>
        <p:spPr>
          <a:xfrm>
            <a:off x="504000" y="-1"/>
            <a:ext cx="8136000" cy="771525"/>
          </a:xfrm>
        </p:spPr>
        <p:txBody>
          <a:bodyPr vert="horz"/>
          <a:lstStyle/>
          <a:p>
            <a:r>
              <a:rPr lang="en-CH" dirty="0">
                <a:highlight>
                  <a:srgbClr val="FFFF00"/>
                </a:highlight>
              </a:rPr>
              <a:t>SKU Productivity Analysis</a:t>
            </a:r>
            <a:r>
              <a:rPr lang="en-US" dirty="0">
                <a:highlight>
                  <a:srgbClr val="FFFF00"/>
                </a:highlight>
              </a:rPr>
              <a:t> with TM%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C1">
            <a:extLst>
              <a:ext uri="{FF2B5EF4-FFF2-40B4-BE49-F238E27FC236}">
                <a16:creationId xmlns:a16="http://schemas.microsoft.com/office/drawing/2014/main" id="{D2ED7DDA-135F-C492-65A9-6FEE45EAF5D4}"/>
              </a:ext>
            </a:extLst>
          </p:cNvPr>
          <p:cNvGraphicFramePr/>
          <p:nvPr>
            <p:extLst>
              <p:ext uri="{D42A27DB-BD31-4B8C-83A1-F6EECF244321}">
                <p14:modId xmlns:p14="http://schemas.microsoft.com/office/powerpoint/2010/main" val="4110415323"/>
              </p:ext>
            </p:extLst>
          </p:nvPr>
        </p:nvGraphicFramePr>
        <p:xfrm>
          <a:off x="540000" y="1122111"/>
          <a:ext cx="8100000" cy="361022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D12DE0B2-04B6-2963-DEF6-83B24319E742}"/>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10" name="Slide Number Placeholder 9">
            <a:extLst>
              <a:ext uri="{FF2B5EF4-FFF2-40B4-BE49-F238E27FC236}">
                <a16:creationId xmlns:a16="http://schemas.microsoft.com/office/drawing/2014/main" id="{377A9E8D-C104-DA9E-CED6-8A0E92ECA86E}"/>
              </a:ext>
            </a:extLst>
          </p:cNvPr>
          <p:cNvSpPr>
            <a:spLocks noGrp="1"/>
          </p:cNvSpPr>
          <p:nvPr>
            <p:ph type="sldNum" sz="quarter" idx="16"/>
          </p:nvPr>
        </p:nvSpPr>
        <p:spPr/>
        <p:txBody>
          <a:bodyPr/>
          <a:lstStyle/>
          <a:p>
            <a:fld id="{7B1F438D-4EAF-094E-9162-80CF3EF77236}" type="slidenum">
              <a:rPr lang="en-US" smtClean="0"/>
              <a:pPr/>
              <a:t>6</a:t>
            </a:fld>
            <a:endParaRPr lang="en-US"/>
          </a:p>
        </p:txBody>
      </p:sp>
    </p:spTree>
    <p:extLst>
      <p:ext uri="{BB962C8B-B14F-4D97-AF65-F5344CB8AC3E}">
        <p14:creationId xmlns:p14="http://schemas.microsoft.com/office/powerpoint/2010/main" val="308773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B8D43-A16E-C971-D8BE-9D2E4ED58AF1}"/>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623B8D43-A16E-C971-D8BE-9D2E4ED58AF1}"/>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12" name="Date Placeholder 11">
            <a:extLst>
              <a:ext uri="{FF2B5EF4-FFF2-40B4-BE49-F238E27FC236}">
                <a16:creationId xmlns:a16="http://schemas.microsoft.com/office/drawing/2014/main" id="{19B26B82-152F-1E6C-A9A6-979D7433BED2}"/>
              </a:ext>
            </a:extLst>
          </p:cNvPr>
          <p:cNvSpPr>
            <a:spLocks noGrp="1"/>
          </p:cNvSpPr>
          <p:nvPr>
            <p:ph type="dt" sz="half" idx="14"/>
          </p:nvPr>
        </p:nvSpPr>
        <p:spPr>
          <a:xfrm>
            <a:off x="8082390" y="4972050"/>
            <a:ext cx="557609" cy="171450"/>
          </a:xfrm>
        </p:spPr>
        <p:txBody>
          <a:bodyPr/>
          <a:lstStyle/>
          <a:p>
            <a:pPr lvl="0"/>
            <a:fld id="{55ADB6A1-CC90-41DB-9773-C9DAAD5A90C7}" type="datetime1">
              <a:rPr lang="en-US" noProof="0" smtClean="0"/>
              <a:t>8/27/2025</a:t>
            </a:fld>
            <a:endParaRPr lang="en-US" noProof="0"/>
          </a:p>
        </p:txBody>
      </p:sp>
      <p:sp>
        <p:nvSpPr>
          <p:cNvPr id="10" name="Footer Placeholder 9">
            <a:extLst>
              <a:ext uri="{FF2B5EF4-FFF2-40B4-BE49-F238E27FC236}">
                <a16:creationId xmlns:a16="http://schemas.microsoft.com/office/drawing/2014/main" id="{305E95B1-7200-95ED-5782-BCB83194A1C8}"/>
              </a:ext>
            </a:extLst>
          </p:cNvPr>
          <p:cNvSpPr>
            <a:spLocks noGrp="1"/>
          </p:cNvSpPr>
          <p:nvPr>
            <p:ph type="ftr" sz="quarter" idx="15"/>
          </p:nvPr>
        </p:nvSpPr>
        <p:spPr>
          <a:xfrm>
            <a:off x="546969" y="4970700"/>
            <a:ext cx="6451742" cy="174151"/>
          </a:xfrm>
        </p:spPr>
        <p:txBody>
          <a:bodyPr/>
          <a:lstStyle/>
          <a:p>
            <a:pPr lvl="0"/>
            <a:endParaRPr lang="en-US" noProof="0"/>
          </a:p>
        </p:txBody>
      </p:sp>
      <p:sp>
        <p:nvSpPr>
          <p:cNvPr id="8" name="Text Placeholder 7">
            <a:extLst>
              <a:ext uri="{FF2B5EF4-FFF2-40B4-BE49-F238E27FC236}">
                <a16:creationId xmlns:a16="http://schemas.microsoft.com/office/drawing/2014/main" id="{91E2AAD8-2589-42CA-8D3E-A1A7356DEB41}"/>
              </a:ext>
            </a:extLst>
          </p:cNvPr>
          <p:cNvSpPr>
            <a:spLocks noGrp="1"/>
          </p:cNvSpPr>
          <p:nvPr>
            <p:ph type="body" sz="quarter" idx="17"/>
          </p:nvPr>
        </p:nvSpPr>
        <p:spPr>
          <a:xfrm>
            <a:off x="0" y="4734106"/>
            <a:ext cx="4572000" cy="222878"/>
          </a:xfrm>
        </p:spPr>
        <p:txBody>
          <a:bodyPr/>
          <a:lstStyle/>
          <a:p>
            <a:r>
              <a:rPr lang="en-US"/>
              <a:t>Data Source | IRI | Financial Data | Ending Sep 2021</a:t>
            </a:r>
          </a:p>
        </p:txBody>
      </p:sp>
      <p:sp>
        <p:nvSpPr>
          <p:cNvPr id="7" name="MT">
            <a:extLst>
              <a:ext uri="{FF2B5EF4-FFF2-40B4-BE49-F238E27FC236}">
                <a16:creationId xmlns:a16="http://schemas.microsoft.com/office/drawing/2014/main" id="{2E4CE1D2-DF03-45D3-AFD5-5E10FEC0F7C1}"/>
              </a:ext>
            </a:extLst>
          </p:cNvPr>
          <p:cNvSpPr>
            <a:spLocks noGrp="1"/>
          </p:cNvSpPr>
          <p:nvPr>
            <p:ph type="body" sz="quarter" idx="18"/>
          </p:nvPr>
        </p:nvSpPr>
        <p:spPr>
          <a:xfrm>
            <a:off x="503238" y="774000"/>
            <a:ext cx="8136762" cy="360000"/>
          </a:xfrm>
        </p:spPr>
        <p:txBody>
          <a:bodyPr>
            <a:normAutofit fontScale="92500" lnSpcReduction="10000"/>
          </a:bodyPr>
          <a:lstStyle/>
          <a:p>
            <a:r>
              <a:rPr lang="en-GB"/>
              <a:t>Product Sales Rate, WD and </a:t>
            </a:r>
            <a:r>
              <a:rPr lang="en-CH"/>
              <a:t>Net</a:t>
            </a:r>
            <a:r>
              <a:rPr lang="en-GB"/>
              <a:t> Sales | </a:t>
            </a:r>
            <a:r>
              <a:rPr lang="en-US"/>
              <a:t>Category | Brand | National | </a:t>
            </a:r>
            <a:r>
              <a:rPr lang="en-GB"/>
              <a:t>P12M</a:t>
            </a:r>
          </a:p>
          <a:p>
            <a:r>
              <a:rPr lang="en-US"/>
              <a:t>Bubble Size: Net Sales</a:t>
            </a:r>
            <a:endParaRPr lang="en-GB"/>
          </a:p>
        </p:txBody>
      </p:sp>
      <p:sp>
        <p:nvSpPr>
          <p:cNvPr id="4" name="Title 3">
            <a:extLst>
              <a:ext uri="{FF2B5EF4-FFF2-40B4-BE49-F238E27FC236}">
                <a16:creationId xmlns:a16="http://schemas.microsoft.com/office/drawing/2014/main" id="{53672A89-6C37-C722-FA0C-D1B97ECB7F14}"/>
              </a:ext>
            </a:extLst>
          </p:cNvPr>
          <p:cNvSpPr>
            <a:spLocks noGrp="1"/>
          </p:cNvSpPr>
          <p:nvPr>
            <p:ph type="title"/>
          </p:nvPr>
        </p:nvSpPr>
        <p:spPr>
          <a:xfrm>
            <a:off x="504000" y="-1"/>
            <a:ext cx="8136000" cy="771525"/>
          </a:xfrm>
        </p:spPr>
        <p:txBody>
          <a:bodyPr vert="horz"/>
          <a:lstStyle/>
          <a:p>
            <a:r>
              <a:rPr lang="en-CH" dirty="0">
                <a:highlight>
                  <a:srgbClr val="FFFF00"/>
                </a:highlight>
              </a:rPr>
              <a:t>SKU </a:t>
            </a:r>
            <a:r>
              <a:rPr lang="en-US" dirty="0">
                <a:highlight>
                  <a:srgbClr val="FFFF00"/>
                </a:highlight>
              </a:rPr>
              <a:t>Productivity</a:t>
            </a:r>
            <a:r>
              <a:rPr lang="en-CH" dirty="0">
                <a:highlight>
                  <a:srgbClr val="FFFF00"/>
                </a:highlight>
              </a:rPr>
              <a:t> Analysis</a:t>
            </a:r>
            <a:r>
              <a:rPr lang="en-US" dirty="0">
                <a:highlight>
                  <a:srgbClr val="FFFF00"/>
                </a:highlight>
              </a:rPr>
              <a:t> with WD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p:graphicFrame>
        <p:nvGraphicFramePr>
          <p:cNvPr id="2" name="C1">
            <a:extLst>
              <a:ext uri="{FF2B5EF4-FFF2-40B4-BE49-F238E27FC236}">
                <a16:creationId xmlns:a16="http://schemas.microsoft.com/office/drawing/2014/main" id="{4E79EAB8-34A4-72D6-665E-4FC829A001C6}"/>
              </a:ext>
            </a:extLst>
          </p:cNvPr>
          <p:cNvGraphicFramePr/>
          <p:nvPr>
            <p:extLst>
              <p:ext uri="{D42A27DB-BD31-4B8C-83A1-F6EECF244321}">
                <p14:modId xmlns:p14="http://schemas.microsoft.com/office/powerpoint/2010/main" val="2459460064"/>
              </p:ext>
            </p:extLst>
          </p:nvPr>
        </p:nvGraphicFramePr>
        <p:xfrm>
          <a:off x="542830" y="1136760"/>
          <a:ext cx="8098706" cy="3595996"/>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17EA8C-9911-9C13-45EE-10F5F4D97AD5}"/>
              </a:ext>
            </a:extLst>
          </p:cNvPr>
          <p:cNvSpPr txBox="1"/>
          <p:nvPr/>
        </p:nvSpPr>
        <p:spPr>
          <a:xfrm>
            <a:off x="539750" y="1132905"/>
            <a:ext cx="569691"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r>
              <a:rPr lang="en-US" sz="800" dirty="0">
                <a:solidFill>
                  <a:schemeClr val="tx2"/>
                </a:solidFill>
                <a:latin typeface="Nexa Bold" panose="00000800000000000000" pitchFamily="2" charset="0"/>
              </a:rPr>
              <a:t>Product Sales Rate</a:t>
            </a:r>
            <a:endParaRPr lang="en-CH" sz="800" dirty="0">
              <a:solidFill>
                <a:schemeClr val="tx2"/>
              </a:solidFill>
              <a:latin typeface="Nexa Bold" panose="00000800000000000000" pitchFamily="2" charset="0"/>
            </a:endParaRPr>
          </a:p>
        </p:txBody>
      </p:sp>
      <p:sp>
        <p:nvSpPr>
          <p:cNvPr id="3" name="Slide Number Placeholder 2">
            <a:extLst>
              <a:ext uri="{FF2B5EF4-FFF2-40B4-BE49-F238E27FC236}">
                <a16:creationId xmlns:a16="http://schemas.microsoft.com/office/drawing/2014/main" id="{B2ADD4CC-C583-F506-453A-9C2CF751DA5F}"/>
              </a:ext>
            </a:extLst>
          </p:cNvPr>
          <p:cNvSpPr>
            <a:spLocks noGrp="1"/>
          </p:cNvSpPr>
          <p:nvPr>
            <p:ph type="sldNum" sz="quarter" idx="16"/>
          </p:nvPr>
        </p:nvSpPr>
        <p:spPr/>
        <p:txBody>
          <a:bodyPr/>
          <a:lstStyle/>
          <a:p>
            <a:fld id="{7B1F438D-4EAF-094E-9162-80CF3EF77236}" type="slidenum">
              <a:rPr lang="en-US" smtClean="0"/>
              <a:pPr/>
              <a:t>7</a:t>
            </a:fld>
            <a:endParaRPr lang="en-US"/>
          </a:p>
        </p:txBody>
      </p:sp>
    </p:spTree>
    <p:extLst>
      <p:ext uri="{BB962C8B-B14F-4D97-AF65-F5344CB8AC3E}">
        <p14:creationId xmlns:p14="http://schemas.microsoft.com/office/powerpoint/2010/main" val="274404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08F5B1C-83A8-F547-0FA5-1A800DB462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5" name="think-cell data - do not delete" hidden="1">
                        <a:extLst>
                          <a:ext uri="{FF2B5EF4-FFF2-40B4-BE49-F238E27FC236}">
                            <a16:creationId xmlns:a16="http://schemas.microsoft.com/office/drawing/2014/main" id="{008F5B1C-83A8-F547-0FA5-1A800DB462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A9CC4EED-8E4A-6C19-20E5-7DAA1FBD90D7}"/>
              </a:ext>
            </a:extLst>
          </p:cNvPr>
          <p:cNvSpPr>
            <a:spLocks noGrp="1"/>
          </p:cNvSpPr>
          <p:nvPr>
            <p:ph type="dt" sz="half" idx="14"/>
          </p:nvPr>
        </p:nvSpPr>
        <p:spPr>
          <a:xfrm>
            <a:off x="8082390" y="4972050"/>
            <a:ext cx="557609" cy="171450"/>
          </a:xfrm>
        </p:spPr>
        <p:txBody>
          <a:bodyPr/>
          <a:lstStyle/>
          <a:p>
            <a:pPr lvl="0"/>
            <a:fld id="{B9917B00-4452-49F2-B119-DA5C8EC54206}" type="datetime1">
              <a:rPr lang="en-US" noProof="0" smtClean="0"/>
              <a:t>8/27/2025</a:t>
            </a:fld>
            <a:endParaRPr lang="en-US" noProof="0"/>
          </a:p>
        </p:txBody>
      </p:sp>
      <p:sp>
        <p:nvSpPr>
          <p:cNvPr id="2" name="Text Placeholder 1">
            <a:extLst>
              <a:ext uri="{FF2B5EF4-FFF2-40B4-BE49-F238E27FC236}">
                <a16:creationId xmlns:a16="http://schemas.microsoft.com/office/drawing/2014/main" id="{18E2ABE2-CEA7-69F0-D2E5-2BB7FDF0F191}"/>
              </a:ext>
            </a:extLst>
          </p:cNvPr>
          <p:cNvSpPr>
            <a:spLocks noGrp="1"/>
          </p:cNvSpPr>
          <p:nvPr>
            <p:ph type="body" sz="quarter" idx="17"/>
          </p:nvPr>
        </p:nvSpPr>
        <p:spPr>
          <a:xfrm>
            <a:off x="0" y="4734106"/>
            <a:ext cx="4572000" cy="222878"/>
          </a:xfrm>
        </p:spPr>
        <p:txBody>
          <a:bodyPr/>
          <a:lstStyle/>
          <a:p>
            <a:r>
              <a:rPr lang="en-US"/>
              <a:t>DATA SOURCE: Trade Panel/Retailer Data | Ending Dec 2023</a:t>
            </a:r>
          </a:p>
        </p:txBody>
      </p:sp>
      <p:sp>
        <p:nvSpPr>
          <p:cNvPr id="6" name="Text Placeholder 5">
            <a:extLst>
              <a:ext uri="{FF2B5EF4-FFF2-40B4-BE49-F238E27FC236}">
                <a16:creationId xmlns:a16="http://schemas.microsoft.com/office/drawing/2014/main" id="{F9753906-0AFB-715F-6D7B-997F1B2591CF}"/>
              </a:ext>
            </a:extLst>
          </p:cNvPr>
          <p:cNvSpPr>
            <a:spLocks noGrp="1"/>
          </p:cNvSpPr>
          <p:nvPr>
            <p:ph type="body" sz="quarter" idx="18"/>
          </p:nvPr>
        </p:nvSpPr>
        <p:spPr>
          <a:xfrm>
            <a:off x="503238" y="774000"/>
            <a:ext cx="8136762" cy="360000"/>
          </a:xfrm>
        </p:spPr>
        <p:txBody>
          <a:bodyPr/>
          <a:lstStyle/>
          <a:p>
            <a:r>
              <a:rPr lang="en-GB" dirty="0"/>
              <a:t>Sectors fair share | Sb/Sc | Prince | National | P12M</a:t>
            </a:r>
            <a:endParaRPr lang="en-CH" dirty="0"/>
          </a:p>
        </p:txBody>
      </p:sp>
      <p:sp>
        <p:nvSpPr>
          <p:cNvPr id="7" name="Title 6">
            <a:extLst>
              <a:ext uri="{FF2B5EF4-FFF2-40B4-BE49-F238E27FC236}">
                <a16:creationId xmlns:a16="http://schemas.microsoft.com/office/drawing/2014/main" id="{0B95A130-16A4-1CE7-0E14-6D53A793F777}"/>
              </a:ext>
            </a:extLst>
          </p:cNvPr>
          <p:cNvSpPr>
            <a:spLocks noGrp="1"/>
          </p:cNvSpPr>
          <p:nvPr>
            <p:ph type="title"/>
          </p:nvPr>
        </p:nvSpPr>
        <p:spPr>
          <a:xfrm>
            <a:off x="504000" y="-1"/>
            <a:ext cx="8136000" cy="771525"/>
          </a:xfrm>
        </p:spPr>
        <p:txBody>
          <a:bodyPr vert="horz"/>
          <a:lstStyle/>
          <a:p>
            <a:r>
              <a:rPr lang="en-GB" dirty="0">
                <a:highlight>
                  <a:srgbClr val="FFFF00"/>
                </a:highlight>
              </a:rPr>
              <a:t>Sectors Fair Share</a:t>
            </a:r>
            <a:r>
              <a:rPr lang="en-US" dirty="0">
                <a:highlight>
                  <a:srgbClr val="FFFF00"/>
                </a:highlight>
              </a:rPr>
              <a:t>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3" name="Table 2">
            <a:extLst>
              <a:ext uri="{FF2B5EF4-FFF2-40B4-BE49-F238E27FC236}">
                <a16:creationId xmlns:a16="http://schemas.microsoft.com/office/drawing/2014/main" id="{4A4EFD02-989D-0C9E-893F-CBFBE7E563F3}"/>
              </a:ext>
            </a:extLst>
          </p:cNvPr>
          <p:cNvGraphicFramePr>
            <a:graphicFrameLocks noGrp="1"/>
          </p:cNvGraphicFramePr>
          <p:nvPr>
            <p:extLst>
              <p:ext uri="{D42A27DB-BD31-4B8C-83A1-F6EECF244321}">
                <p14:modId xmlns:p14="http://schemas.microsoft.com/office/powerpoint/2010/main" val="1207592088"/>
              </p:ext>
            </p:extLst>
          </p:nvPr>
        </p:nvGraphicFramePr>
        <p:xfrm>
          <a:off x="503234" y="1134334"/>
          <a:ext cx="8136765" cy="3602742"/>
        </p:xfrm>
        <a:graphic>
          <a:graphicData uri="http://schemas.openxmlformats.org/drawingml/2006/table">
            <a:tbl>
              <a:tblPr>
                <a:tableStyleId>{5C22544A-7EE6-4342-B048-85BDC9FD1C3A}</a:tableStyleId>
              </a:tblPr>
              <a:tblGrid>
                <a:gridCol w="1162395">
                  <a:extLst>
                    <a:ext uri="{9D8B030D-6E8A-4147-A177-3AD203B41FA5}">
                      <a16:colId xmlns:a16="http://schemas.microsoft.com/office/drawing/2014/main" val="1107457112"/>
                    </a:ext>
                  </a:extLst>
                </a:gridCol>
                <a:gridCol w="1162395">
                  <a:extLst>
                    <a:ext uri="{9D8B030D-6E8A-4147-A177-3AD203B41FA5}">
                      <a16:colId xmlns:a16="http://schemas.microsoft.com/office/drawing/2014/main" val="742483101"/>
                    </a:ext>
                  </a:extLst>
                </a:gridCol>
                <a:gridCol w="1162395">
                  <a:extLst>
                    <a:ext uri="{9D8B030D-6E8A-4147-A177-3AD203B41FA5}">
                      <a16:colId xmlns:a16="http://schemas.microsoft.com/office/drawing/2014/main" val="924145238"/>
                    </a:ext>
                  </a:extLst>
                </a:gridCol>
                <a:gridCol w="1162395">
                  <a:extLst>
                    <a:ext uri="{9D8B030D-6E8A-4147-A177-3AD203B41FA5}">
                      <a16:colId xmlns:a16="http://schemas.microsoft.com/office/drawing/2014/main" val="3183580947"/>
                    </a:ext>
                  </a:extLst>
                </a:gridCol>
                <a:gridCol w="1162395">
                  <a:extLst>
                    <a:ext uri="{9D8B030D-6E8A-4147-A177-3AD203B41FA5}">
                      <a16:colId xmlns:a16="http://schemas.microsoft.com/office/drawing/2014/main" val="378731624"/>
                    </a:ext>
                  </a:extLst>
                </a:gridCol>
                <a:gridCol w="1162395">
                  <a:extLst>
                    <a:ext uri="{9D8B030D-6E8A-4147-A177-3AD203B41FA5}">
                      <a16:colId xmlns:a16="http://schemas.microsoft.com/office/drawing/2014/main" val="515008349"/>
                    </a:ext>
                  </a:extLst>
                </a:gridCol>
                <a:gridCol w="1162395">
                  <a:extLst>
                    <a:ext uri="{9D8B030D-6E8A-4147-A177-3AD203B41FA5}">
                      <a16:colId xmlns:a16="http://schemas.microsoft.com/office/drawing/2014/main" val="3428502824"/>
                    </a:ext>
                  </a:extLst>
                </a:gridCol>
              </a:tblGrid>
              <a:tr h="277134">
                <a:tc>
                  <a:txBody>
                    <a:bodyPr/>
                    <a:lstStyle/>
                    <a:p>
                      <a:pPr algn="ctr" rtl="0" fontAlgn="ctr"/>
                      <a:endParaRPr lang="en-US" sz="700" b="1" i="0" u="none" strike="noStrike">
                        <a:solidFill>
                          <a:srgbClr val="575555"/>
                        </a:solidFill>
                        <a:effectLst/>
                        <a:latin typeface="Nexa Bold" panose="00000800000000000000" pitchFamily="2" charset="0"/>
                      </a:endParaRPr>
                    </a:p>
                  </a:txBody>
                  <a:tcPr marL="0" marR="0" marT="0" marB="0" anchor="ct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latin typeface="+mj-lt"/>
                        </a:rPr>
                        <a:t>Total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r>
                        <a:rPr lang="en-US" sz="900" b="1" i="0" u="none" strike="noStrike" dirty="0">
                          <a:solidFill>
                            <a:srgbClr val="575555"/>
                          </a:solidFill>
                          <a:effectLst/>
                          <a:latin typeface="+mj-lt"/>
                        </a:rPr>
                        <a:t> </a:t>
                      </a:r>
                    </a:p>
                    <a:p>
                      <a:pPr algn="ctr" rtl="0" fontAlgn="ctr"/>
                      <a:r>
                        <a:rPr lang="en-US" sz="900" b="1" i="0" u="none" strike="noStrike" dirty="0">
                          <a:solidFill>
                            <a:srgbClr val="575555"/>
                          </a:solidFill>
                          <a:effectLst/>
                          <a:latin typeface="+mj-lt"/>
                        </a:rPr>
                        <a:t>SKU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Value Share</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a:solidFill>
                            <a:srgbClr val="575555"/>
                          </a:solidFill>
                          <a:effectLst/>
                          <a:highlight>
                            <a:srgbClr val="FFFF00"/>
                          </a:highlight>
                          <a:latin typeface="+mj-lt"/>
                        </a:rPr>
                        <a:t>Prince</a:t>
                      </a:r>
                      <a:r>
                        <a:rPr lang="en-US" sz="900" b="1" i="0" u="none" strike="noStrike">
                          <a:solidFill>
                            <a:srgbClr val="575555"/>
                          </a:solidFill>
                          <a:effectLst/>
                          <a:latin typeface="+mj-lt"/>
                        </a:rPr>
                        <a:t> </a:t>
                      </a:r>
                    </a:p>
                    <a:p>
                      <a:pPr algn="ctr" rtl="0" fontAlgn="ctr"/>
                      <a:r>
                        <a:rPr lang="en-US" sz="900" b="1" i="0" u="none" strike="noStrike">
                          <a:solidFill>
                            <a:srgbClr val="575555"/>
                          </a:solidFill>
                          <a:effectLst/>
                          <a:latin typeface="+mj-lt"/>
                        </a:rPr>
                        <a:t>Fair Share # of SKUs</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rtl="0" fontAlgn="ctr"/>
                      <a:r>
                        <a:rPr lang="en-US" sz="900" b="1" i="0" u="none" strike="noStrike" dirty="0">
                          <a:solidFill>
                            <a:srgbClr val="575555"/>
                          </a:solidFill>
                          <a:effectLst/>
                          <a:highlight>
                            <a:srgbClr val="FFFF00"/>
                          </a:highlight>
                          <a:latin typeface="+mj-lt"/>
                        </a:rPr>
                        <a:t>Prince</a:t>
                      </a:r>
                    </a:p>
                    <a:p>
                      <a:pPr algn="ctr" rtl="0" fontAlgn="ctr"/>
                      <a:r>
                        <a:rPr lang="en-US" sz="900" b="1" i="0" u="none" strike="noStrike" dirty="0">
                          <a:solidFill>
                            <a:srgbClr val="575555"/>
                          </a:solidFill>
                          <a:effectLst/>
                          <a:latin typeface="+mj-lt"/>
                        </a:rPr>
                        <a:t>Listing Opportunity</a:t>
                      </a:r>
                    </a:p>
                  </a:txBody>
                  <a:tcPr marL="0" marR="0" marT="0" marB="0" anchor="ctr">
                    <a:lnT w="12700" cmpd="sng">
                      <a:noFill/>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8213438"/>
                  </a:ext>
                </a:extLst>
              </a:tr>
              <a:tr h="277134">
                <a:tc>
                  <a:txBody>
                    <a:bodyPr/>
                    <a:lstStyle/>
                    <a:p>
                      <a:pPr algn="ctr" rtl="0" fontAlgn="ctr"/>
                      <a:r>
                        <a:rPr lang="fr-CH" sz="800" b="1" i="0" u="none" strike="noStrike" dirty="0" err="1">
                          <a:solidFill>
                            <a:schemeClr val="tx1"/>
                          </a:solidFill>
                          <a:effectLst/>
                          <a:highlight>
                            <a:srgbClr val="FFFF00"/>
                          </a:highlight>
                          <a:latin typeface="+mj-lt"/>
                        </a:rPr>
                        <a:t>Category</a:t>
                      </a:r>
                      <a:endParaRPr lang="en-CH" sz="800" b="1" i="0" u="none" strike="noStrike" dirty="0">
                        <a:solidFill>
                          <a:schemeClr val="tx1"/>
                        </a:solidFill>
                        <a:effectLst/>
                        <a:highlight>
                          <a:srgbClr val="FFFF00"/>
                        </a:highlight>
                        <a:latin typeface="+mj-lt"/>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09</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31</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4%</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7%</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CH" sz="800" b="0" i="0" u="none" strike="noStrike">
                          <a:solidFill>
                            <a:schemeClr val="tx1"/>
                          </a:solidFill>
                          <a:effectLst/>
                          <a:latin typeface="Nexa Bold" panose="00000800000000000000" pitchFamily="2" charset="0"/>
                        </a:rPr>
                        <a:t>52</a:t>
                      </a: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tc>
                  <a:txBody>
                    <a:bodyPr/>
                    <a:lstStyle/>
                    <a:p>
                      <a:pPr algn="ctr" rtl="0" fontAlgn="ctr"/>
                      <a:r>
                        <a:rPr lang="en-GB" sz="800" b="0" i="0" u="none" strike="noStrike">
                          <a:solidFill>
                            <a:schemeClr val="tx1"/>
                          </a:solidFill>
                          <a:effectLst/>
                          <a:latin typeface="Nexa Bold" panose="00000800000000000000" pitchFamily="2" charset="0"/>
                        </a:rPr>
                        <a:t>21</a:t>
                      </a:r>
                      <a:endParaRPr lang="en-CH" sz="800" b="0" i="0" u="none" strike="noStrike">
                        <a:solidFill>
                          <a:schemeClr val="tx1"/>
                        </a:solidFill>
                        <a:effectLst/>
                        <a:latin typeface="Nexa Bold" panose="00000800000000000000" pitchFamily="2" charset="0"/>
                      </a:endParaRPr>
                    </a:p>
                  </a:txBody>
                  <a:tcPr marL="3810" marR="3810" marT="3810" marB="0" anchor="ctr">
                    <a:lnT w="12700" cap="flat" cmpd="sng" algn="ctr">
                      <a:solidFill>
                        <a:schemeClr val="accent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62742908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1</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3161381"/>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2</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17523971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3</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dirty="0">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712364869"/>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4</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98998524"/>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4143210105"/>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337440209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61534110"/>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904386257"/>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5</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071136303"/>
                  </a:ext>
                </a:extLst>
              </a:tr>
              <a:tr h="277134">
                <a:tc>
                  <a:txBody>
                    <a:bodyPr/>
                    <a:lstStyle/>
                    <a:p>
                      <a:pPr algn="ctr" rtl="0" fontAlgn="ctr"/>
                      <a:r>
                        <a:rPr lang="fr-CH" sz="800" b="1" i="0" u="none" strike="noStrike" err="1">
                          <a:solidFill>
                            <a:schemeClr val="tx1"/>
                          </a:solidFill>
                          <a:effectLst/>
                          <a:highlight>
                            <a:srgbClr val="FFFF00"/>
                          </a:highlight>
                          <a:latin typeface="+mj-lt"/>
                        </a:rPr>
                        <a:t>Sector</a:t>
                      </a:r>
                      <a:r>
                        <a:rPr lang="fr-CH" sz="800" b="1" i="0" u="none" strike="noStrike">
                          <a:solidFill>
                            <a:schemeClr val="tx1"/>
                          </a:solidFill>
                          <a:effectLst/>
                          <a:highlight>
                            <a:srgbClr val="FFFF00"/>
                          </a:highlight>
                          <a:latin typeface="+mj-lt"/>
                        </a:rPr>
                        <a:t> 6</a:t>
                      </a:r>
                      <a:endParaRPr lang="en-CH" sz="800" b="1" i="0" u="none" strike="noStrike">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CH" sz="800" b="0" i="0" u="none" strike="noStrike">
                          <a:solidFill>
                            <a:schemeClr val="tx1"/>
                          </a:solidFill>
                          <a:effectLst/>
                          <a:latin typeface="+mn-lt"/>
                        </a:rPr>
                        <a:t>49</a:t>
                      </a:r>
                    </a:p>
                  </a:txBody>
                  <a:tcPr marL="3810" marR="3810" marT="3810" marB="0" anchor="ctr">
                    <a:noFill/>
                  </a:tcPr>
                </a:tc>
                <a:tc>
                  <a:txBody>
                    <a:bodyPr/>
                    <a:lstStyle/>
                    <a:p>
                      <a:pPr algn="ctr" fontAlgn="ctr"/>
                      <a:r>
                        <a:rPr lang="en-GB" sz="800" b="0" i="0" u="none" strike="noStrike">
                          <a:solidFill>
                            <a:schemeClr val="tx1"/>
                          </a:solidFill>
                          <a:effectLst/>
                          <a:latin typeface="+mn-lt"/>
                        </a:rPr>
                        <a:t>21</a:t>
                      </a:r>
                      <a:endParaRPr lang="en-CH" sz="800" b="0" i="0" u="none" strike="noStrike">
                        <a:solidFill>
                          <a:schemeClr val="tx1"/>
                        </a:solidFill>
                        <a:effectLst/>
                        <a:latin typeface="+mn-lt"/>
                      </a:endParaRPr>
                    </a:p>
                  </a:txBody>
                  <a:tcPr marL="3810" marR="3810" marT="3810" marB="0" anchor="ctr">
                    <a:noFill/>
                  </a:tcPr>
                </a:tc>
                <a:extLst>
                  <a:ext uri="{0D108BD9-81ED-4DB2-BD59-A6C34878D82A}">
                    <a16:rowId xmlns:a16="http://schemas.microsoft.com/office/drawing/2014/main" val="2478226403"/>
                  </a:ext>
                </a:extLst>
              </a:tr>
              <a:tr h="277134">
                <a:tc>
                  <a:txBody>
                    <a:bodyPr/>
                    <a:lstStyle/>
                    <a:p>
                      <a:pPr algn="ctr" rtl="0" fontAlgn="ctr"/>
                      <a:r>
                        <a:rPr lang="fr-CH" sz="800" b="1" i="0" u="none" strike="noStrike" dirty="0" err="1">
                          <a:solidFill>
                            <a:schemeClr val="tx1"/>
                          </a:solidFill>
                          <a:effectLst/>
                          <a:highlight>
                            <a:srgbClr val="FFFF00"/>
                          </a:highlight>
                          <a:latin typeface="+mj-lt"/>
                        </a:rPr>
                        <a:t>Sector</a:t>
                      </a:r>
                      <a:r>
                        <a:rPr lang="fr-CH" sz="800" b="1" i="0" u="none" strike="noStrike" dirty="0">
                          <a:solidFill>
                            <a:schemeClr val="tx1"/>
                          </a:solidFill>
                          <a:effectLst/>
                          <a:highlight>
                            <a:srgbClr val="FFFF00"/>
                          </a:highlight>
                          <a:latin typeface="+mj-lt"/>
                        </a:rPr>
                        <a:t> 7</a:t>
                      </a:r>
                      <a:endParaRPr lang="en-CH" sz="800" b="1" i="0" u="none" strike="noStrike" dirty="0">
                        <a:solidFill>
                          <a:schemeClr val="tx1"/>
                        </a:solidFill>
                        <a:effectLst/>
                        <a:highlight>
                          <a:srgbClr val="FFFF00"/>
                        </a:highlight>
                        <a:latin typeface="+mj-lt"/>
                      </a:endParaRPr>
                    </a:p>
                  </a:txBody>
                  <a:tcPr marL="3810" marR="3810" marT="3810" marB="0" anchor="ctr">
                    <a:noFill/>
                  </a:tcPr>
                </a:tc>
                <a:tc>
                  <a:txBody>
                    <a:bodyPr/>
                    <a:lstStyle/>
                    <a:p>
                      <a:pPr algn="ctr" rtl="0" fontAlgn="ctr"/>
                      <a:r>
                        <a:rPr lang="en-CH" sz="800" b="0" i="0" u="none" strike="noStrike">
                          <a:solidFill>
                            <a:schemeClr val="tx1"/>
                          </a:solidFill>
                          <a:effectLst/>
                          <a:latin typeface="+mn-lt"/>
                        </a:rPr>
                        <a:t>99</a:t>
                      </a:r>
                    </a:p>
                  </a:txBody>
                  <a:tcPr marL="3810" marR="3810" marT="3810" marB="0" anchor="ctr">
                    <a:noFill/>
                  </a:tcPr>
                </a:tc>
                <a:tc>
                  <a:txBody>
                    <a:bodyPr/>
                    <a:lstStyle/>
                    <a:p>
                      <a:pPr algn="ctr" fontAlgn="ctr"/>
                      <a:r>
                        <a:rPr lang="en-CH" sz="800" b="0" i="0" u="none" strike="noStrike">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28%</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CH" sz="800" b="0" i="0" u="none" strike="noStrike" dirty="0">
                          <a:solidFill>
                            <a:schemeClr val="tx1"/>
                          </a:solidFill>
                          <a:effectLst/>
                          <a:latin typeface="+mn-lt"/>
                        </a:rPr>
                        <a:t>49</a:t>
                      </a:r>
                    </a:p>
                  </a:txBody>
                  <a:tcPr marL="3810" marR="3810" marT="3810" marB="0" anchor="ctr">
                    <a:noFill/>
                  </a:tcPr>
                </a:tc>
                <a:tc>
                  <a:txBody>
                    <a:bodyPr/>
                    <a:lstStyle/>
                    <a:p>
                      <a:pPr algn="ctr" fontAlgn="ctr"/>
                      <a:r>
                        <a:rPr lang="en-GB" sz="800" b="0" i="0" u="none" strike="noStrike" dirty="0">
                          <a:solidFill>
                            <a:schemeClr val="tx1"/>
                          </a:solidFill>
                          <a:effectLst/>
                          <a:latin typeface="+mn-lt"/>
                        </a:rPr>
                        <a:t>21</a:t>
                      </a:r>
                      <a:endParaRPr lang="en-CH" sz="800" b="0" i="0" u="none" strike="noStrike" dirty="0">
                        <a:solidFill>
                          <a:schemeClr val="tx1"/>
                        </a:solidFill>
                        <a:effectLst/>
                        <a:latin typeface="+mn-lt"/>
                      </a:endParaRPr>
                    </a:p>
                  </a:txBody>
                  <a:tcPr marL="3810" marR="3810" marT="3810" marB="0" anchor="ctr">
                    <a:noFill/>
                  </a:tcPr>
                </a:tc>
                <a:extLst>
                  <a:ext uri="{0D108BD9-81ED-4DB2-BD59-A6C34878D82A}">
                    <a16:rowId xmlns:a16="http://schemas.microsoft.com/office/drawing/2014/main" val="116474470"/>
                  </a:ext>
                </a:extLst>
              </a:tr>
            </a:tbl>
          </a:graphicData>
        </a:graphic>
      </p:graphicFrame>
      <p:sp>
        <p:nvSpPr>
          <p:cNvPr id="4" name="Footer Placeholder 3">
            <a:extLst>
              <a:ext uri="{FF2B5EF4-FFF2-40B4-BE49-F238E27FC236}">
                <a16:creationId xmlns:a16="http://schemas.microsoft.com/office/drawing/2014/main" id="{3E466557-AD2E-F651-1D98-2A1FDE9D16ED}"/>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899BB15F-1BFB-D2DB-FF92-1AAF64AB9FC0}"/>
              </a:ext>
            </a:extLst>
          </p:cNvPr>
          <p:cNvSpPr>
            <a:spLocks noGrp="1"/>
          </p:cNvSpPr>
          <p:nvPr>
            <p:ph type="sldNum" sz="quarter" idx="16"/>
          </p:nvPr>
        </p:nvSpPr>
        <p:spPr/>
        <p:txBody>
          <a:bodyPr/>
          <a:lstStyle/>
          <a:p>
            <a:fld id="{7B1F438D-4EAF-094E-9162-80CF3EF77236}" type="slidenum">
              <a:rPr lang="en-US" smtClean="0"/>
              <a:pPr/>
              <a:t>8</a:t>
            </a:fld>
            <a:endParaRPr lang="en-US"/>
          </a:p>
        </p:txBody>
      </p:sp>
    </p:spTree>
    <p:extLst>
      <p:ext uri="{BB962C8B-B14F-4D97-AF65-F5344CB8AC3E}">
        <p14:creationId xmlns:p14="http://schemas.microsoft.com/office/powerpoint/2010/main" val="2988904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3B97F3-A04F-4F0C-B39A-C5495F1A7B05}">
  <ds:schemaRefs>
    <ds:schemaRef ds:uri="http://schemas.microsoft.com/office/2006/documentManagement/types"/>
    <ds:schemaRef ds:uri="0ad93b7f-b0cd-4c46-aaaf-ff14495948cf"/>
    <ds:schemaRef ds:uri="http://purl.org/dc/elements/1.1/"/>
    <ds:schemaRef ds:uri="http://www.w3.org/XML/1998/namespace"/>
    <ds:schemaRef ds:uri="http://schemas.microsoft.com/office/2006/metadata/properties"/>
    <ds:schemaRef ds:uri="474cf4e4-8a51-432b-9e1b-0ea607ac38ff"/>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38749DFE-4136-473E-8F3A-DF8981A45F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69004E-13CB-4752-B39D-2BEF8CE131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60</Words>
  <Application>Microsoft Office PowerPoint</Application>
  <PresentationFormat>On-screen Show (16:9)</PresentationFormat>
  <Paragraphs>281</Paragraphs>
  <Slides>8</Slides>
  <Notes>2</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SKU Share By Brand (Replace With SO WHAT)</vt:lpstr>
      <vt:lpstr>Cumulative Product Share (Replace With SO WHAT)</vt:lpstr>
      <vt:lpstr>Top 50% cumulative share (Replace With SO WHAT)</vt:lpstr>
      <vt:lpstr>Manuf Cumulative Product Share (Replace With SO WHAT)</vt:lpstr>
      <vt:lpstr>Top 20 cumulative share (Replace With SO WHAT)</vt:lpstr>
      <vt:lpstr>SKU Productivity Analysis with TM% (Replace with So What)</vt:lpstr>
      <vt:lpstr>SKU Productivity Analysis with WD (Replace with So What)</vt:lpstr>
      <vt:lpstr>Sectors Fair Share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 Share By Brand (Replace With SO WHAT)</dc:title>
  <dc:creator>Sophie  ZIMMERMANN</dc:creator>
  <cp:lastModifiedBy>Sophie  ZIMMERMANN</cp:lastModifiedBy>
  <cp:revision>22</cp:revision>
  <dcterms:created xsi:type="dcterms:W3CDTF">2024-07-05T14:32:36Z</dcterms:created>
  <dcterms:modified xsi:type="dcterms:W3CDTF">2025-08-27T16:2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